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0" r:id="rId1"/>
  </p:sldMasterIdLst>
  <p:notesMasterIdLst>
    <p:notesMasterId r:id="rId18"/>
  </p:notesMasterIdLst>
  <p:handoutMasterIdLst>
    <p:handoutMasterId r:id="rId19"/>
  </p:handoutMasterIdLst>
  <p:sldIdLst>
    <p:sldId id="256" r:id="rId2"/>
    <p:sldId id="261" r:id="rId3"/>
    <p:sldId id="258" r:id="rId4"/>
    <p:sldId id="687" r:id="rId5"/>
    <p:sldId id="692" r:id="rId6"/>
    <p:sldId id="688" r:id="rId7"/>
    <p:sldId id="693" r:id="rId8"/>
    <p:sldId id="702" r:id="rId9"/>
    <p:sldId id="699" r:id="rId10"/>
    <p:sldId id="700" r:id="rId11"/>
    <p:sldId id="694" r:id="rId12"/>
    <p:sldId id="691" r:id="rId13"/>
    <p:sldId id="695" r:id="rId14"/>
    <p:sldId id="696" r:id="rId15"/>
    <p:sldId id="701" r:id="rId16"/>
    <p:sldId id="698" r:id="rId17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30098"/>
    <a:srgbClr val="55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39" autoAdjust="0"/>
    <p:restoredTop sz="94673" autoAdjust="0"/>
  </p:normalViewPr>
  <p:slideViewPr>
    <p:cSldViewPr snapToObjects="1">
      <p:cViewPr varScale="1">
        <p:scale>
          <a:sx n="129" d="100"/>
          <a:sy n="129" d="100"/>
        </p:scale>
        <p:origin x="216" y="2248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98" d="100"/>
          <a:sy n="98" d="100"/>
        </p:scale>
        <p:origin x="-3564" y="-96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1">
  <dgm:title val=""/>
  <dgm:desc val=""/>
  <dgm:catLst>
    <dgm:cat type="accent1" pri="11100"/>
  </dgm:catLst>
  <dgm:styleLbl name="node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4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1">
        <a:alpha val="4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1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1">
        <a:alpha val="90000"/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93C3631-70AA-BE42-AB3C-89AE09367E0D}" type="doc">
      <dgm:prSet loTypeId="urn:microsoft.com/office/officeart/2005/8/layout/radial3" loCatId="" qsTypeId="urn:microsoft.com/office/officeart/2005/8/quickstyle/simple1" qsCatId="simple" csTypeId="urn:microsoft.com/office/officeart/2005/8/colors/accent1_1" csCatId="accent1" phldr="1"/>
      <dgm:spPr/>
      <dgm:t>
        <a:bodyPr/>
        <a:lstStyle/>
        <a:p>
          <a:endParaRPr lang="en-GB"/>
        </a:p>
      </dgm:t>
    </dgm:pt>
    <dgm:pt modelId="{205212B0-34C7-594C-9676-3E597DD044E0}">
      <dgm:prSet phldrT="[Text]"/>
      <dgm:spPr/>
      <dgm:t>
        <a:bodyPr/>
        <a:lstStyle/>
        <a:p>
          <a:r>
            <a:rPr lang="en-GB" dirty="0">
              <a:solidFill>
                <a:schemeClr val="accent4"/>
              </a:solidFill>
            </a:rPr>
            <a:t>Trust</a:t>
          </a:r>
        </a:p>
      </dgm:t>
    </dgm:pt>
    <dgm:pt modelId="{6C542E45-643B-6B42-91DE-3AEF8A0F3E32}" type="parTrans" cxnId="{CF4AFADF-E1A8-9F41-AC8E-569753026C33}">
      <dgm:prSet/>
      <dgm:spPr/>
      <dgm:t>
        <a:bodyPr/>
        <a:lstStyle/>
        <a:p>
          <a:endParaRPr lang="en-GB"/>
        </a:p>
      </dgm:t>
    </dgm:pt>
    <dgm:pt modelId="{88393075-15D0-DB43-9F5B-DE44675F046F}" type="sibTrans" cxnId="{CF4AFADF-E1A8-9F41-AC8E-569753026C33}">
      <dgm:prSet/>
      <dgm:spPr/>
      <dgm:t>
        <a:bodyPr/>
        <a:lstStyle/>
        <a:p>
          <a:endParaRPr lang="en-GB"/>
        </a:p>
      </dgm:t>
    </dgm:pt>
    <dgm:pt modelId="{1745BC0B-8DFB-A24E-BB36-DCFBB65FDBE2}">
      <dgm:prSet phldrT="[Text]"/>
      <dgm:spPr/>
      <dgm:t>
        <a:bodyPr/>
        <a:lstStyle/>
        <a:p>
          <a:r>
            <a:rPr lang="en-GB" dirty="0">
              <a:solidFill>
                <a:schemeClr val="accent4"/>
              </a:solidFill>
            </a:rPr>
            <a:t>Respect</a:t>
          </a:r>
        </a:p>
      </dgm:t>
    </dgm:pt>
    <dgm:pt modelId="{47BE724D-18CD-AE40-BB98-1344EF8876B2}" type="parTrans" cxnId="{2A27569B-8398-A344-A3D5-30287581DB48}">
      <dgm:prSet/>
      <dgm:spPr/>
      <dgm:t>
        <a:bodyPr/>
        <a:lstStyle/>
        <a:p>
          <a:endParaRPr lang="en-GB"/>
        </a:p>
      </dgm:t>
    </dgm:pt>
    <dgm:pt modelId="{20E0986D-817B-5546-B3A0-ED110218960C}" type="sibTrans" cxnId="{2A27569B-8398-A344-A3D5-30287581DB48}">
      <dgm:prSet/>
      <dgm:spPr/>
      <dgm:t>
        <a:bodyPr/>
        <a:lstStyle/>
        <a:p>
          <a:endParaRPr lang="en-GB"/>
        </a:p>
      </dgm:t>
    </dgm:pt>
    <dgm:pt modelId="{98F0EB25-D8E2-D848-9601-3B497AD89421}">
      <dgm:prSet phldrT="[Text]"/>
      <dgm:spPr/>
      <dgm:t>
        <a:bodyPr/>
        <a:lstStyle/>
        <a:p>
          <a:r>
            <a:rPr lang="en-GB" dirty="0">
              <a:solidFill>
                <a:schemeClr val="accent4"/>
              </a:solidFill>
            </a:rPr>
            <a:t>Privacy</a:t>
          </a:r>
        </a:p>
      </dgm:t>
    </dgm:pt>
    <dgm:pt modelId="{85F526E4-D7F2-744B-8F1A-10D5C4D4BC66}" type="parTrans" cxnId="{495B5C86-733D-4748-A923-BFF789DCBCD8}">
      <dgm:prSet/>
      <dgm:spPr/>
      <dgm:t>
        <a:bodyPr/>
        <a:lstStyle/>
        <a:p>
          <a:endParaRPr lang="en-GB"/>
        </a:p>
      </dgm:t>
    </dgm:pt>
    <dgm:pt modelId="{020EFC53-01B3-4942-86F4-6FAFD02F5DCE}" type="sibTrans" cxnId="{495B5C86-733D-4748-A923-BFF789DCBCD8}">
      <dgm:prSet/>
      <dgm:spPr/>
      <dgm:t>
        <a:bodyPr/>
        <a:lstStyle/>
        <a:p>
          <a:endParaRPr lang="en-GB"/>
        </a:p>
      </dgm:t>
    </dgm:pt>
    <dgm:pt modelId="{99ACB363-74C4-054A-80F3-B806598404FC}">
      <dgm:prSet phldrT="[Text]"/>
      <dgm:spPr/>
      <dgm:t>
        <a:bodyPr/>
        <a:lstStyle/>
        <a:p>
          <a:r>
            <a:rPr lang="en-GB" dirty="0">
              <a:solidFill>
                <a:schemeClr val="accent4"/>
              </a:solidFill>
            </a:rPr>
            <a:t>Transparency</a:t>
          </a:r>
        </a:p>
      </dgm:t>
    </dgm:pt>
    <dgm:pt modelId="{35970DF2-7EB2-B640-A173-9C517AEC4F9F}" type="parTrans" cxnId="{3FB29648-435E-AA40-BEB0-E8A23BD913EC}">
      <dgm:prSet/>
      <dgm:spPr/>
      <dgm:t>
        <a:bodyPr/>
        <a:lstStyle/>
        <a:p>
          <a:endParaRPr lang="en-GB"/>
        </a:p>
      </dgm:t>
    </dgm:pt>
    <dgm:pt modelId="{165C6FC7-1188-0F46-994A-F7A3BFB18BC0}" type="sibTrans" cxnId="{3FB29648-435E-AA40-BEB0-E8A23BD913EC}">
      <dgm:prSet/>
      <dgm:spPr/>
      <dgm:t>
        <a:bodyPr/>
        <a:lstStyle/>
        <a:p>
          <a:endParaRPr lang="en-GB"/>
        </a:p>
      </dgm:t>
    </dgm:pt>
    <dgm:pt modelId="{1C01920A-C4D2-3C46-B992-B8D615B42BE5}">
      <dgm:prSet phldrT="[Text]"/>
      <dgm:spPr/>
      <dgm:t>
        <a:bodyPr/>
        <a:lstStyle/>
        <a:p>
          <a:r>
            <a:rPr lang="en-GB" dirty="0">
              <a:solidFill>
                <a:schemeClr val="accent4"/>
              </a:solidFill>
            </a:rPr>
            <a:t>Security</a:t>
          </a:r>
        </a:p>
      </dgm:t>
    </dgm:pt>
    <dgm:pt modelId="{627DDC03-E456-3940-A757-286DD225A19E}" type="parTrans" cxnId="{D96E4FE6-F865-884C-AF41-47311D688AA3}">
      <dgm:prSet/>
      <dgm:spPr/>
      <dgm:t>
        <a:bodyPr/>
        <a:lstStyle/>
        <a:p>
          <a:endParaRPr lang="en-GB"/>
        </a:p>
      </dgm:t>
    </dgm:pt>
    <dgm:pt modelId="{4863C0A1-021F-FA4E-82D2-2DAF5D4E9FF8}" type="sibTrans" cxnId="{D96E4FE6-F865-884C-AF41-47311D688AA3}">
      <dgm:prSet/>
      <dgm:spPr/>
      <dgm:t>
        <a:bodyPr/>
        <a:lstStyle/>
        <a:p>
          <a:endParaRPr lang="en-GB"/>
        </a:p>
      </dgm:t>
    </dgm:pt>
    <dgm:pt modelId="{3CCA3C19-38E2-AB43-928F-7D902783CED7}" type="pres">
      <dgm:prSet presAssocID="{093C3631-70AA-BE42-AB3C-89AE09367E0D}" presName="composite" presStyleCnt="0">
        <dgm:presLayoutVars>
          <dgm:chMax val="1"/>
          <dgm:dir/>
          <dgm:resizeHandles val="exact"/>
        </dgm:presLayoutVars>
      </dgm:prSet>
      <dgm:spPr/>
    </dgm:pt>
    <dgm:pt modelId="{7876EA8D-FC7D-6249-A850-BA665C60ABC6}" type="pres">
      <dgm:prSet presAssocID="{093C3631-70AA-BE42-AB3C-89AE09367E0D}" presName="radial" presStyleCnt="0">
        <dgm:presLayoutVars>
          <dgm:animLvl val="ctr"/>
        </dgm:presLayoutVars>
      </dgm:prSet>
      <dgm:spPr/>
    </dgm:pt>
    <dgm:pt modelId="{784EBC36-25B8-224E-99C4-852027A31776}" type="pres">
      <dgm:prSet presAssocID="{205212B0-34C7-594C-9676-3E597DD044E0}" presName="centerShape" presStyleLbl="vennNode1" presStyleIdx="0" presStyleCnt="5"/>
      <dgm:spPr/>
    </dgm:pt>
    <dgm:pt modelId="{76E07A3E-8E26-EC44-9FCA-D608C2B21950}" type="pres">
      <dgm:prSet presAssocID="{1745BC0B-8DFB-A24E-BB36-DCFBB65FDBE2}" presName="node" presStyleLbl="vennNode1" presStyleIdx="1" presStyleCnt="5">
        <dgm:presLayoutVars>
          <dgm:bulletEnabled val="1"/>
        </dgm:presLayoutVars>
      </dgm:prSet>
      <dgm:spPr/>
    </dgm:pt>
    <dgm:pt modelId="{0A9AFA6B-6851-E44A-8BFB-F0295FF16F86}" type="pres">
      <dgm:prSet presAssocID="{98F0EB25-D8E2-D848-9601-3B497AD89421}" presName="node" presStyleLbl="vennNode1" presStyleIdx="2" presStyleCnt="5">
        <dgm:presLayoutVars>
          <dgm:bulletEnabled val="1"/>
        </dgm:presLayoutVars>
      </dgm:prSet>
      <dgm:spPr/>
    </dgm:pt>
    <dgm:pt modelId="{D912ED31-9B2E-C942-92B6-39557B2FF73A}" type="pres">
      <dgm:prSet presAssocID="{99ACB363-74C4-054A-80F3-B806598404FC}" presName="node" presStyleLbl="vennNode1" presStyleIdx="3" presStyleCnt="5">
        <dgm:presLayoutVars>
          <dgm:bulletEnabled val="1"/>
        </dgm:presLayoutVars>
      </dgm:prSet>
      <dgm:spPr/>
    </dgm:pt>
    <dgm:pt modelId="{817ECC95-E334-4946-B3B3-500EFD506A5E}" type="pres">
      <dgm:prSet presAssocID="{1C01920A-C4D2-3C46-B992-B8D615B42BE5}" presName="node" presStyleLbl="vennNode1" presStyleIdx="4" presStyleCnt="5">
        <dgm:presLayoutVars>
          <dgm:bulletEnabled val="1"/>
        </dgm:presLayoutVars>
      </dgm:prSet>
      <dgm:spPr/>
    </dgm:pt>
  </dgm:ptLst>
  <dgm:cxnLst>
    <dgm:cxn modelId="{9FF27819-73AF-B749-8238-7BCEE6700FAC}" type="presOf" srcId="{99ACB363-74C4-054A-80F3-B806598404FC}" destId="{D912ED31-9B2E-C942-92B6-39557B2FF73A}" srcOrd="0" destOrd="0" presId="urn:microsoft.com/office/officeart/2005/8/layout/radial3"/>
    <dgm:cxn modelId="{3FB29648-435E-AA40-BEB0-E8A23BD913EC}" srcId="{205212B0-34C7-594C-9676-3E597DD044E0}" destId="{99ACB363-74C4-054A-80F3-B806598404FC}" srcOrd="2" destOrd="0" parTransId="{35970DF2-7EB2-B640-A173-9C517AEC4F9F}" sibTransId="{165C6FC7-1188-0F46-994A-F7A3BFB18BC0}"/>
    <dgm:cxn modelId="{93F50457-CAEE-3D45-9A94-DDE6CE447B77}" type="presOf" srcId="{205212B0-34C7-594C-9676-3E597DD044E0}" destId="{784EBC36-25B8-224E-99C4-852027A31776}" srcOrd="0" destOrd="0" presId="urn:microsoft.com/office/officeart/2005/8/layout/radial3"/>
    <dgm:cxn modelId="{E1499357-F8A6-B948-B46C-C1838E527B1A}" type="presOf" srcId="{98F0EB25-D8E2-D848-9601-3B497AD89421}" destId="{0A9AFA6B-6851-E44A-8BFB-F0295FF16F86}" srcOrd="0" destOrd="0" presId="urn:microsoft.com/office/officeart/2005/8/layout/radial3"/>
    <dgm:cxn modelId="{495B5C86-733D-4748-A923-BFF789DCBCD8}" srcId="{205212B0-34C7-594C-9676-3E597DD044E0}" destId="{98F0EB25-D8E2-D848-9601-3B497AD89421}" srcOrd="1" destOrd="0" parTransId="{85F526E4-D7F2-744B-8F1A-10D5C4D4BC66}" sibTransId="{020EFC53-01B3-4942-86F4-6FAFD02F5DCE}"/>
    <dgm:cxn modelId="{6614BC8B-862B-7D46-8934-45048484FE5A}" type="presOf" srcId="{1C01920A-C4D2-3C46-B992-B8D615B42BE5}" destId="{817ECC95-E334-4946-B3B3-500EFD506A5E}" srcOrd="0" destOrd="0" presId="urn:microsoft.com/office/officeart/2005/8/layout/radial3"/>
    <dgm:cxn modelId="{2A27569B-8398-A344-A3D5-30287581DB48}" srcId="{205212B0-34C7-594C-9676-3E597DD044E0}" destId="{1745BC0B-8DFB-A24E-BB36-DCFBB65FDBE2}" srcOrd="0" destOrd="0" parTransId="{47BE724D-18CD-AE40-BB98-1344EF8876B2}" sibTransId="{20E0986D-817B-5546-B3A0-ED110218960C}"/>
    <dgm:cxn modelId="{1D3E14A2-0FA9-A74E-B586-BE83C6BA3033}" type="presOf" srcId="{093C3631-70AA-BE42-AB3C-89AE09367E0D}" destId="{3CCA3C19-38E2-AB43-928F-7D902783CED7}" srcOrd="0" destOrd="0" presId="urn:microsoft.com/office/officeart/2005/8/layout/radial3"/>
    <dgm:cxn modelId="{A89CE3AF-C7BA-6E47-B3E4-2C3A4AF29F0E}" type="presOf" srcId="{1745BC0B-8DFB-A24E-BB36-DCFBB65FDBE2}" destId="{76E07A3E-8E26-EC44-9FCA-D608C2B21950}" srcOrd="0" destOrd="0" presId="urn:microsoft.com/office/officeart/2005/8/layout/radial3"/>
    <dgm:cxn modelId="{CF4AFADF-E1A8-9F41-AC8E-569753026C33}" srcId="{093C3631-70AA-BE42-AB3C-89AE09367E0D}" destId="{205212B0-34C7-594C-9676-3E597DD044E0}" srcOrd="0" destOrd="0" parTransId="{6C542E45-643B-6B42-91DE-3AEF8A0F3E32}" sibTransId="{88393075-15D0-DB43-9F5B-DE44675F046F}"/>
    <dgm:cxn modelId="{D96E4FE6-F865-884C-AF41-47311D688AA3}" srcId="{205212B0-34C7-594C-9676-3E597DD044E0}" destId="{1C01920A-C4D2-3C46-B992-B8D615B42BE5}" srcOrd="3" destOrd="0" parTransId="{627DDC03-E456-3940-A757-286DD225A19E}" sibTransId="{4863C0A1-021F-FA4E-82D2-2DAF5D4E9FF8}"/>
    <dgm:cxn modelId="{956F5F5B-E0BF-2B46-8853-B4068EB3C875}" type="presParOf" srcId="{3CCA3C19-38E2-AB43-928F-7D902783CED7}" destId="{7876EA8D-FC7D-6249-A850-BA665C60ABC6}" srcOrd="0" destOrd="0" presId="urn:microsoft.com/office/officeart/2005/8/layout/radial3"/>
    <dgm:cxn modelId="{28D5F2A0-C944-404D-9040-9E0B22286FD5}" type="presParOf" srcId="{7876EA8D-FC7D-6249-A850-BA665C60ABC6}" destId="{784EBC36-25B8-224E-99C4-852027A31776}" srcOrd="0" destOrd="0" presId="urn:microsoft.com/office/officeart/2005/8/layout/radial3"/>
    <dgm:cxn modelId="{EF3E2574-B6FB-E244-8BED-06D711A53449}" type="presParOf" srcId="{7876EA8D-FC7D-6249-A850-BA665C60ABC6}" destId="{76E07A3E-8E26-EC44-9FCA-D608C2B21950}" srcOrd="1" destOrd="0" presId="urn:microsoft.com/office/officeart/2005/8/layout/radial3"/>
    <dgm:cxn modelId="{7A7447A0-9723-7842-A7C6-4DCD613E9907}" type="presParOf" srcId="{7876EA8D-FC7D-6249-A850-BA665C60ABC6}" destId="{0A9AFA6B-6851-E44A-8BFB-F0295FF16F86}" srcOrd="2" destOrd="0" presId="urn:microsoft.com/office/officeart/2005/8/layout/radial3"/>
    <dgm:cxn modelId="{FD2C3C35-F0F8-A147-8877-415EE32936E7}" type="presParOf" srcId="{7876EA8D-FC7D-6249-A850-BA665C60ABC6}" destId="{D912ED31-9B2E-C942-92B6-39557B2FF73A}" srcOrd="3" destOrd="0" presId="urn:microsoft.com/office/officeart/2005/8/layout/radial3"/>
    <dgm:cxn modelId="{B453F57F-91F3-7645-83D4-7BD08B67CD3D}" type="presParOf" srcId="{7876EA8D-FC7D-6249-A850-BA665C60ABC6}" destId="{817ECC95-E334-4946-B3B3-500EFD506A5E}" srcOrd="4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84EBC36-25B8-224E-99C4-852027A31776}">
      <dsp:nvSpPr>
        <dsp:cNvPr id="0" name=""/>
        <dsp:cNvSpPr/>
      </dsp:nvSpPr>
      <dsp:spPr>
        <a:xfrm>
          <a:off x="1807063" y="962909"/>
          <a:ext cx="2398826" cy="2398826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76200" tIns="76200" rIns="76200" bIns="76200" numCol="1" spcCol="1270" anchor="ctr" anchorCtr="0">
          <a:noAutofit/>
        </a:bodyPr>
        <a:lstStyle/>
        <a:p>
          <a:pPr marL="0" lvl="0" indent="0" algn="ctr" defTabSz="2667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6000" kern="1200" dirty="0">
              <a:solidFill>
                <a:schemeClr val="accent4"/>
              </a:solidFill>
            </a:rPr>
            <a:t>Trust</a:t>
          </a:r>
        </a:p>
      </dsp:txBody>
      <dsp:txXfrm>
        <a:off x="2158363" y="1314209"/>
        <a:ext cx="1696226" cy="1696226"/>
      </dsp:txXfrm>
    </dsp:sp>
    <dsp:sp modelId="{76E07A3E-8E26-EC44-9FCA-D608C2B21950}">
      <dsp:nvSpPr>
        <dsp:cNvPr id="0" name=""/>
        <dsp:cNvSpPr/>
      </dsp:nvSpPr>
      <dsp:spPr>
        <a:xfrm>
          <a:off x="2406770" y="428"/>
          <a:ext cx="1199413" cy="1199413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accent4"/>
              </a:solidFill>
            </a:rPr>
            <a:t>Respect</a:t>
          </a:r>
        </a:p>
      </dsp:txBody>
      <dsp:txXfrm>
        <a:off x="2582420" y="176078"/>
        <a:ext cx="848113" cy="848113"/>
      </dsp:txXfrm>
    </dsp:sp>
    <dsp:sp modelId="{0A9AFA6B-6851-E44A-8BFB-F0295FF16F86}">
      <dsp:nvSpPr>
        <dsp:cNvPr id="0" name=""/>
        <dsp:cNvSpPr/>
      </dsp:nvSpPr>
      <dsp:spPr>
        <a:xfrm>
          <a:off x="3968958" y="1562615"/>
          <a:ext cx="1199413" cy="1199413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accent4"/>
              </a:solidFill>
            </a:rPr>
            <a:t>Privacy</a:t>
          </a:r>
        </a:p>
      </dsp:txBody>
      <dsp:txXfrm>
        <a:off x="4144608" y="1738265"/>
        <a:ext cx="848113" cy="848113"/>
      </dsp:txXfrm>
    </dsp:sp>
    <dsp:sp modelId="{D912ED31-9B2E-C942-92B6-39557B2FF73A}">
      <dsp:nvSpPr>
        <dsp:cNvPr id="0" name=""/>
        <dsp:cNvSpPr/>
      </dsp:nvSpPr>
      <dsp:spPr>
        <a:xfrm>
          <a:off x="2406770" y="3124803"/>
          <a:ext cx="1199413" cy="1199413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accent4"/>
              </a:solidFill>
            </a:rPr>
            <a:t>Transparency</a:t>
          </a:r>
        </a:p>
      </dsp:txBody>
      <dsp:txXfrm>
        <a:off x="2582420" y="3300453"/>
        <a:ext cx="848113" cy="848113"/>
      </dsp:txXfrm>
    </dsp:sp>
    <dsp:sp modelId="{817ECC95-E334-4946-B3B3-500EFD506A5E}">
      <dsp:nvSpPr>
        <dsp:cNvPr id="0" name=""/>
        <dsp:cNvSpPr/>
      </dsp:nvSpPr>
      <dsp:spPr>
        <a:xfrm>
          <a:off x="844582" y="1562615"/>
          <a:ext cx="1199413" cy="1199413"/>
        </a:xfrm>
        <a:prstGeom prst="ellipse">
          <a:avLst/>
        </a:prstGeom>
        <a:solidFill>
          <a:schemeClr val="lt1">
            <a:alpha val="5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100" kern="1200" dirty="0">
              <a:solidFill>
                <a:schemeClr val="accent4"/>
              </a:solidFill>
            </a:rPr>
            <a:t>Security</a:t>
          </a:r>
        </a:p>
      </dsp:txBody>
      <dsp:txXfrm>
        <a:off x="1020232" y="1738265"/>
        <a:ext cx="848113" cy="8481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42B134-106B-4824-9B31-1BF063A3F5B3}" type="datetimeFigureOut">
              <a:rPr lang="en-AU" smtClean="0"/>
              <a:t>23/5/22</a:t>
            </a:fld>
            <a:endParaRPr lang="en-A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34B49D-750F-40DF-A8C7-C2948FC2FCF9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9672545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0EB475A-CE0B-4D41-A189-ED83F5950A7D}" type="datetimeFigureOut">
              <a:rPr lang="en-AU" smtClean="0"/>
              <a:t>23/5/22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2BED7D-93BB-45B3-A0BC-954C87C9B4A3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338214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514" b="29690"/>
          <a:stretch/>
        </p:blipFill>
        <p:spPr bwMode="auto">
          <a:xfrm>
            <a:off x="0" y="-179"/>
            <a:ext cx="12288688" cy="68581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540313" y="5229200"/>
            <a:ext cx="5430872" cy="728929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6540313" y="3429267"/>
            <a:ext cx="5430872" cy="1331526"/>
          </a:xfrm>
          <a:prstGeom prst="rect">
            <a:avLst/>
          </a:prstGeom>
        </p:spPr>
        <p:txBody>
          <a:bodyPr/>
          <a:lstStyle>
            <a:lvl1pPr algn="l">
              <a:defRPr sz="3800" b="1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037394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07" t="19908" b="9780"/>
          <a:stretch/>
        </p:blipFill>
        <p:spPr bwMode="auto">
          <a:xfrm>
            <a:off x="-96688" y="0"/>
            <a:ext cx="12288688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59496" y="3207789"/>
            <a:ext cx="4310262" cy="874017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000" b="0" i="0" baseline="0">
                <a:solidFill>
                  <a:srgbClr val="FFFFFF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3" name="Title 1"/>
          <p:cNvSpPr>
            <a:spLocks noGrp="1"/>
          </p:cNvSpPr>
          <p:nvPr>
            <p:ph type="title"/>
          </p:nvPr>
        </p:nvSpPr>
        <p:spPr>
          <a:xfrm>
            <a:off x="1559496" y="602075"/>
            <a:ext cx="4310262" cy="2333037"/>
          </a:xfrm>
          <a:prstGeom prst="rect">
            <a:avLst/>
          </a:prstGeom>
        </p:spPr>
        <p:txBody>
          <a:bodyPr/>
          <a:lstStyle>
            <a:lvl1pPr marL="0" indent="0" algn="l">
              <a:defRPr sz="3800" b="1" baseline="0">
                <a:solidFill>
                  <a:schemeClr val="bg1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7" name="Picture 6"/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609041" y="5877272"/>
            <a:ext cx="1822663" cy="8402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68854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59497" y="620688"/>
            <a:ext cx="9073008" cy="555215"/>
          </a:xfrm>
          <a:prstGeom prst="rect">
            <a:avLst/>
          </a:prstGeom>
        </p:spPr>
        <p:txBody>
          <a:bodyPr lIns="0" rIns="0"/>
          <a:lstStyle>
            <a:lvl1pPr algn="l">
              <a:defRPr sz="3200" b="1" baseline="0">
                <a:solidFill>
                  <a:srgbClr val="430098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1559497" y="1340768"/>
            <a:ext cx="9073008" cy="4464496"/>
          </a:xfrm>
          <a:prstGeom prst="rect">
            <a:avLst/>
          </a:prstGeom>
        </p:spPr>
        <p:txBody>
          <a:bodyPr lIns="0" rIns="0"/>
          <a:lstStyle>
            <a:lvl1pPr marL="0" indent="0">
              <a:spcBef>
                <a:spcPts val="600"/>
              </a:spcBef>
              <a:spcAft>
                <a:spcPts val="600"/>
              </a:spcAft>
              <a:buNone/>
              <a:defRPr sz="2400" b="0" i="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938" indent="0">
              <a:spcBef>
                <a:spcPts val="600"/>
              </a:spcBef>
              <a:spcAft>
                <a:spcPts val="600"/>
              </a:spcAft>
              <a:buNone/>
              <a:tabLst/>
              <a:defRPr sz="2400" b="0" i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342900" indent="-34290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700088" indent="-342900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155700" indent="-395288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  <a:tabLst/>
              <a:defRPr sz="2400" b="0" i="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2"/>
            <a:r>
              <a:rPr lang="en-US" dirty="0"/>
              <a:t>First level</a:t>
            </a:r>
          </a:p>
          <a:p>
            <a:pPr lvl="3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559497" y="206525"/>
            <a:ext cx="9073008" cy="252000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2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3" descr="\\internal.vic.gov.au\DPC\HomeDirs1\vicum6x\Desktop\Untitled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00" y="472529"/>
            <a:ext cx="10974917" cy="2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8256240" y="6492973"/>
            <a:ext cx="3264749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0"/>
              </a:spcAft>
              <a:tabLst>
                <a:tab pos="2865755" algn="ctr"/>
                <a:tab pos="5731510" algn="r"/>
              </a:tabLst>
            </a:pPr>
            <a:r>
              <a:rPr lang="en-US" sz="900" dirty="0">
                <a:solidFill>
                  <a:srgbClr val="430098"/>
                </a:solidFill>
                <a:effectLst/>
                <a:ea typeface="Calibri"/>
                <a:cs typeface="Times New Roman"/>
              </a:rPr>
              <a:t>Freedom of Information </a:t>
            </a:r>
            <a:r>
              <a:rPr lang="en-US" sz="900" dirty="0">
                <a:solidFill>
                  <a:srgbClr val="E5007D"/>
                </a:solidFill>
                <a:effectLst/>
                <a:ea typeface="Calibri"/>
                <a:cs typeface="Times New Roman"/>
              </a:rPr>
              <a:t>|</a:t>
            </a:r>
            <a:r>
              <a:rPr lang="en-US" sz="900" dirty="0">
                <a:solidFill>
                  <a:srgbClr val="430098"/>
                </a:solidFill>
                <a:effectLst/>
                <a:ea typeface="Calibri"/>
                <a:cs typeface="Times New Roman"/>
              </a:rPr>
              <a:t> Privacy </a:t>
            </a:r>
            <a:r>
              <a:rPr lang="en-US" sz="900" dirty="0">
                <a:solidFill>
                  <a:srgbClr val="E5007D"/>
                </a:solidFill>
                <a:effectLst/>
                <a:ea typeface="Calibri"/>
                <a:cs typeface="Times New Roman"/>
              </a:rPr>
              <a:t>|</a:t>
            </a:r>
            <a:r>
              <a:rPr lang="en-US" sz="900" dirty="0">
                <a:solidFill>
                  <a:srgbClr val="430098"/>
                </a:solidFill>
                <a:effectLst/>
                <a:ea typeface="Calibri"/>
                <a:cs typeface="Times New Roman"/>
              </a:rPr>
              <a:t> </a:t>
            </a:r>
            <a:r>
              <a:rPr lang="en-US" sz="900" kern="1200" dirty="0">
                <a:solidFill>
                  <a:srgbClr val="430098"/>
                </a:solidFill>
                <a:effectLst/>
                <a:latin typeface="+mn-lt"/>
                <a:ea typeface="Calibri"/>
                <a:cs typeface="Times New Roman"/>
              </a:rPr>
              <a:t>Data Protection</a:t>
            </a:r>
            <a:endParaRPr lang="en-AU" sz="900" kern="1200" dirty="0">
              <a:solidFill>
                <a:srgbClr val="430098"/>
              </a:solidFill>
              <a:effectLst/>
              <a:latin typeface="+mn-lt"/>
              <a:ea typeface="Calibri"/>
              <a:cs typeface="Times New Roman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157702" y="220566"/>
            <a:ext cx="31931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E6F30DDE-27C1-4B52-BDDA-56CED60EAA6D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AU" sz="1800" dirty="0"/>
          </a:p>
        </p:txBody>
      </p:sp>
    </p:spTree>
    <p:extLst>
      <p:ext uri="{BB962C8B-B14F-4D97-AF65-F5344CB8AC3E}">
        <p14:creationId xmlns:p14="http://schemas.microsoft.com/office/powerpoint/2010/main" val="33163041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4"/>
          <p:cNvSpPr>
            <a:spLocks noGrp="1"/>
          </p:cNvSpPr>
          <p:nvPr>
            <p:ph type="pic" sz="quarter" idx="11"/>
          </p:nvPr>
        </p:nvSpPr>
        <p:spPr>
          <a:xfrm>
            <a:off x="6472767" y="620688"/>
            <a:ext cx="4159737" cy="525658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611264" y="620688"/>
            <a:ext cx="4562600" cy="555215"/>
          </a:xfrm>
          <a:prstGeom prst="rect">
            <a:avLst/>
          </a:prstGeom>
        </p:spPr>
        <p:txBody>
          <a:bodyPr lIns="0" rIns="0"/>
          <a:lstStyle>
            <a:lvl1pPr algn="l">
              <a:defRPr sz="3200" b="1" baseline="0">
                <a:solidFill>
                  <a:srgbClr val="430098"/>
                </a:solidFill>
                <a:latin typeface="Calibri" charset="0"/>
                <a:ea typeface="Calibri" charset="0"/>
                <a:cs typeface="Calibri" charset="0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3" name="Content Placeholder 2"/>
          <p:cNvSpPr>
            <a:spLocks noGrp="1"/>
          </p:cNvSpPr>
          <p:nvPr>
            <p:ph idx="1"/>
          </p:nvPr>
        </p:nvSpPr>
        <p:spPr>
          <a:xfrm>
            <a:off x="1621384" y="1340768"/>
            <a:ext cx="4562600" cy="4536504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2400" b="0" i="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938" indent="0">
              <a:buNone/>
              <a:tabLst/>
              <a:defRPr sz="2000" b="0" i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319088" indent="-319088">
              <a:tabLst/>
              <a:defRPr sz="2000" b="0" i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760413" indent="-403225">
              <a:buFont typeface="Calibri" panose="020F0502020204030204" pitchFamily="34" charset="0"/>
              <a:buChar char="–"/>
              <a:tabLst/>
              <a:defRPr sz="2000" b="0" i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155700" indent="-395288">
              <a:buFont typeface="Arial" charset="0"/>
              <a:buChar char="•"/>
              <a:tabLst/>
              <a:defRPr sz="2000" b="0" i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611495" y="175769"/>
            <a:ext cx="9021009" cy="254171"/>
          </a:xfrm>
          <a:prstGeom prst="rect">
            <a:avLst/>
          </a:prstGeom>
        </p:spPr>
        <p:txBody>
          <a:bodyPr lIns="0" rIns="0"/>
          <a:lstStyle>
            <a:lvl1pPr marL="0" indent="0">
              <a:buNone/>
              <a:defRPr sz="12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17" name="Picture 3" descr="\\internal.vic.gov.au\DPC\HomeDirs1\vicum6x\Desktop\Untitled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200" y="472529"/>
            <a:ext cx="10974917" cy="28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TextBox 17"/>
          <p:cNvSpPr txBox="1"/>
          <p:nvPr userDrawn="1"/>
        </p:nvSpPr>
        <p:spPr>
          <a:xfrm>
            <a:off x="8303859" y="6492973"/>
            <a:ext cx="3264749" cy="2308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Aft>
                <a:spcPts val="0"/>
              </a:spcAft>
              <a:tabLst>
                <a:tab pos="2865755" algn="ctr"/>
                <a:tab pos="5731510" algn="r"/>
              </a:tabLst>
            </a:pPr>
            <a:r>
              <a:rPr lang="en-US" sz="900" dirty="0">
                <a:solidFill>
                  <a:srgbClr val="430098"/>
                </a:solidFill>
                <a:effectLst/>
                <a:ea typeface="Calibri"/>
                <a:cs typeface="Times New Roman"/>
              </a:rPr>
              <a:t>Freedom of Information </a:t>
            </a:r>
            <a:r>
              <a:rPr lang="en-US" sz="900" dirty="0">
                <a:solidFill>
                  <a:srgbClr val="E5007D"/>
                </a:solidFill>
                <a:effectLst/>
                <a:ea typeface="Calibri"/>
                <a:cs typeface="Times New Roman"/>
              </a:rPr>
              <a:t>|</a:t>
            </a:r>
            <a:r>
              <a:rPr lang="en-US" sz="900" dirty="0">
                <a:solidFill>
                  <a:srgbClr val="430098"/>
                </a:solidFill>
                <a:effectLst/>
                <a:ea typeface="Calibri"/>
                <a:cs typeface="Times New Roman"/>
              </a:rPr>
              <a:t> Privacy </a:t>
            </a:r>
            <a:r>
              <a:rPr lang="en-US" sz="900" dirty="0">
                <a:solidFill>
                  <a:srgbClr val="E5007D"/>
                </a:solidFill>
                <a:effectLst/>
                <a:ea typeface="Calibri"/>
                <a:cs typeface="Times New Roman"/>
              </a:rPr>
              <a:t>|</a:t>
            </a:r>
            <a:r>
              <a:rPr lang="en-US" sz="900" dirty="0">
                <a:solidFill>
                  <a:srgbClr val="430098"/>
                </a:solidFill>
                <a:effectLst/>
                <a:ea typeface="Calibri"/>
                <a:cs typeface="Times New Roman"/>
              </a:rPr>
              <a:t> Data </a:t>
            </a:r>
            <a:r>
              <a:rPr lang="en-US" sz="900" dirty="0">
                <a:solidFill>
                  <a:srgbClr val="7030A0"/>
                </a:solidFill>
                <a:effectLst/>
                <a:ea typeface="Calibri"/>
                <a:cs typeface="Times New Roman"/>
              </a:rPr>
              <a:t>Protection</a:t>
            </a:r>
            <a:endParaRPr lang="en-AU" sz="1050" dirty="0">
              <a:solidFill>
                <a:srgbClr val="7030A0"/>
              </a:solidFill>
              <a:effectLst/>
              <a:ea typeface="Calibri"/>
              <a:cs typeface="Times New Roman"/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11157702" y="220566"/>
            <a:ext cx="319318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E6F30DDE-27C1-4B52-BDDA-56CED60EAA6D}" type="slidenum">
              <a:rPr kumimoji="0" lang="en-AU" sz="900" b="0" i="0" u="none" strike="noStrike" kern="1200" cap="none" spc="0" normalizeH="0" baseline="0" noProof="0" smtClean="0">
                <a:ln>
                  <a:noFill/>
                </a:ln>
                <a:solidFill>
                  <a:srgbClr val="55565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AU" sz="1800" dirty="0"/>
          </a:p>
        </p:txBody>
      </p:sp>
    </p:spTree>
    <p:extLst>
      <p:ext uri="{BB962C8B-B14F-4D97-AF65-F5344CB8AC3E}">
        <p14:creationId xmlns:p14="http://schemas.microsoft.com/office/powerpoint/2010/main" val="1150548354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3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5000"/>
          <a:stretch/>
        </p:blipFill>
        <p:spPr bwMode="auto">
          <a:xfrm>
            <a:off x="953" y="535"/>
            <a:ext cx="12191047" cy="68574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9805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6C3A4A7-9CCD-4B06-B473-F61AE6DFB5D3}"/>
              </a:ext>
            </a:extLst>
          </p:cNvPr>
          <p:cNvPicPr>
            <a:picLocks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510592" y="6013593"/>
            <a:ext cx="1345048" cy="6200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6013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</p:sldLayoutIdLst>
  <p:hf hdr="0" ftr="0" dt="0"/>
  <p:txStyles>
    <p:titleStyle>
      <a:lvl1pPr algn="ctr" defTabSz="457200" rtl="0" eaLnBrk="1" fontAlgn="base" hangingPunct="1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20.svg"/><Relationship Id="rId7" Type="http://schemas.openxmlformats.org/officeDocument/2006/relationships/image" Target="../media/image24.sv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7.svg"/><Relationship Id="rId7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svg"/><Relationship Id="rId4" Type="http://schemas.openxmlformats.org/officeDocument/2006/relationships/image" Target="../media/image8.png"/><Relationship Id="rId9" Type="http://schemas.openxmlformats.org/officeDocument/2006/relationships/image" Target="../media/image13.sv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17.pn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16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3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>
          <a:xfrm>
            <a:off x="6540313" y="5229200"/>
            <a:ext cx="4020183" cy="728929"/>
          </a:xfrm>
        </p:spPr>
        <p:txBody>
          <a:bodyPr/>
          <a:lstStyle/>
          <a:p>
            <a:r>
              <a:rPr lang="en-AU" dirty="0"/>
              <a:t>Sven </a:t>
            </a:r>
            <a:r>
              <a:rPr lang="en-AU" dirty="0" err="1"/>
              <a:t>Bluemmel</a:t>
            </a:r>
            <a:r>
              <a:rPr lang="en-AU" dirty="0"/>
              <a:t>, Victorian Information Commissioner</a:t>
            </a:r>
          </a:p>
          <a:p>
            <a:r>
              <a:rPr lang="en-AU" dirty="0"/>
              <a:t>26 May 2022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6540312" y="2924944"/>
            <a:ext cx="4020183" cy="1331526"/>
          </a:xfrm>
        </p:spPr>
        <p:txBody>
          <a:bodyPr/>
          <a:lstStyle/>
          <a:p>
            <a:r>
              <a:rPr lang="en-AU" dirty="0"/>
              <a:t>ISACA Annual General Meeting</a:t>
            </a:r>
          </a:p>
        </p:txBody>
      </p:sp>
    </p:spTree>
    <p:extLst>
      <p:ext uri="{BB962C8B-B14F-4D97-AF65-F5344CB8AC3E}">
        <p14:creationId xmlns:p14="http://schemas.microsoft.com/office/powerpoint/2010/main" val="129619364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679A43-95B8-5907-594E-9CBDBBC3D5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Themes from the investigation’s recommendation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09B1916B-6FDA-0889-B6F7-D9623E289C8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6269E1ED-244D-7EBA-E713-21161ADDE0D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Regularly check user access lists for systems and implement a procedure to periodically check the currency of user lists for a system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Regularly provide both general and specific privacy and security training to staff according to their role and the types of information and systems they can acces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Use a risk-tiering framework for managing CSPs.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/>
              <a:t>Simplify contractual frameworks and guidance materials for systems.</a:t>
            </a:r>
          </a:p>
        </p:txBody>
      </p:sp>
    </p:spTree>
    <p:extLst>
      <p:ext uri="{BB962C8B-B14F-4D97-AF65-F5344CB8AC3E}">
        <p14:creationId xmlns:p14="http://schemas.microsoft.com/office/powerpoint/2010/main" val="322399686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E4997570-EBBE-2E3B-6A25-4CF8EF7090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Artificial intelligence and facial recognition</a:t>
            </a:r>
          </a:p>
        </p:txBody>
      </p:sp>
    </p:spTree>
    <p:extLst>
      <p:ext uri="{BB962C8B-B14F-4D97-AF65-F5344CB8AC3E}">
        <p14:creationId xmlns:p14="http://schemas.microsoft.com/office/powerpoint/2010/main" val="260706615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2A175-36E6-5CDC-FE60-6F03DC8A1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72425" y="2636912"/>
            <a:ext cx="9073008" cy="555215"/>
          </a:xfrm>
        </p:spPr>
        <p:txBody>
          <a:bodyPr/>
          <a:lstStyle/>
          <a:p>
            <a:pPr algn="ctr"/>
            <a:r>
              <a:rPr lang="en-US" dirty="0"/>
              <a:t>Just because you can, does not mean you should.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E291A78-E17A-748E-E2E2-175D60AF5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</p:spTree>
    <p:extLst>
      <p:ext uri="{BB962C8B-B14F-4D97-AF65-F5344CB8AC3E}">
        <p14:creationId xmlns:p14="http://schemas.microsoft.com/office/powerpoint/2010/main" val="307149983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DC8ED56F-83EF-EC17-3110-0BBF05E5D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Lessons learned from the pandemic</a:t>
            </a:r>
          </a:p>
        </p:txBody>
      </p:sp>
    </p:spTree>
    <p:extLst>
      <p:ext uri="{BB962C8B-B14F-4D97-AF65-F5344CB8AC3E}">
        <p14:creationId xmlns:p14="http://schemas.microsoft.com/office/powerpoint/2010/main" val="22401709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7C5693-9A82-B7B1-0819-E03C43F1F32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Lessons learned from the pandemic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1746B3BF-BB87-0DB7-A07D-2C045DE00AE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EA5EDB62-76D2-96F9-15B7-17AA05B90A0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45340913"/>
              </p:ext>
            </p:extLst>
          </p:nvPr>
        </p:nvGraphicFramePr>
        <p:xfrm>
          <a:off x="3089523" y="1628800"/>
          <a:ext cx="6012954" cy="43246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3870015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>
            <a:extLst>
              <a:ext uri="{FF2B5EF4-FFF2-40B4-BE49-F238E27FC236}">
                <a16:creationId xmlns:a16="http://schemas.microsoft.com/office/drawing/2014/main" id="{79E65831-1EAB-9201-D583-984F1A07DE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Resources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8FBFA613-8644-3660-35BF-437C32F5241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000" dirty="0"/>
              <a:t>OVIC, Engaging contracted service providers (Guidelines for outsourcing in the Victorian public sector, checklist, case studies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000" dirty="0"/>
              <a:t>OVIC, Unauthorised access to client information held in the CRISSP database: Investigation under section 8C(2)(e) of the </a:t>
            </a:r>
            <a:r>
              <a:rPr lang="en-AU" sz="2000" i="1" dirty="0"/>
              <a:t>Privacy and Data Protection Act 2014 </a:t>
            </a:r>
            <a:r>
              <a:rPr lang="en-AU" sz="2000" dirty="0"/>
              <a:t>(Vic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000" dirty="0"/>
              <a:t>OVIC, Artificial intelligence – Understanding Privacy Obligation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000" dirty="0"/>
              <a:t>OVIC, Artificial intelligence and privacy – Issues and challen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000" dirty="0"/>
              <a:t>OVIC, Biometrics and privacy – Issues and challeng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AU" sz="2000" dirty="0"/>
              <a:t>Global Privacy Assembly, 42nd closed session of the Global Privacy Assembly (October 2020), Adopted Resolution on facial recognition technology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0BF1615-F5AF-163B-05F1-E66A6FEE866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</p:spTree>
    <p:extLst>
      <p:ext uri="{BB962C8B-B14F-4D97-AF65-F5344CB8AC3E}">
        <p14:creationId xmlns:p14="http://schemas.microsoft.com/office/powerpoint/2010/main" val="294190757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5F358A-EA66-2FA5-0F67-D6FD812E7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Contact u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74D3B09-2A90-127D-5FFD-5973541FADB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  <p:sp>
        <p:nvSpPr>
          <p:cNvPr id="6" name="Google Shape;573;p81">
            <a:extLst>
              <a:ext uri="{FF2B5EF4-FFF2-40B4-BE49-F238E27FC236}">
                <a16:creationId xmlns:a16="http://schemas.microsoft.com/office/drawing/2014/main" id="{A66B7349-E89C-919F-9011-7189A3A78215}"/>
              </a:ext>
            </a:extLst>
          </p:cNvPr>
          <p:cNvSpPr txBox="1"/>
          <p:nvPr/>
        </p:nvSpPr>
        <p:spPr>
          <a:xfrm>
            <a:off x="2259207" y="1913209"/>
            <a:ext cx="3652092" cy="555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2400" b="0" i="0" u="none" strike="noStrike" cap="none" dirty="0" err="1">
                <a:ea typeface="Calibri"/>
                <a:cs typeface="Calibri"/>
                <a:sym typeface="Calibri"/>
              </a:rPr>
              <a:t>enquiries@ovic.vic.gov.au</a:t>
            </a:r>
            <a:endParaRPr sz="2400" b="0" i="0" u="none" strike="noStrike" cap="none" dirty="0">
              <a:ea typeface="Arial"/>
              <a:cs typeface="Arial"/>
              <a:sym typeface="Arial"/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lang="en-US" sz="2400" b="0" i="0" u="none" strike="noStrike" cap="none" dirty="0">
              <a:ea typeface="Calibri"/>
              <a:cs typeface="Calibri"/>
              <a:sym typeface="Calibri"/>
            </a:endParaRPr>
          </a:p>
          <a:p>
            <a:pPr lvl="0">
              <a:buClr>
                <a:srgbClr val="000000"/>
              </a:buClr>
              <a:buSzPts val="1800"/>
            </a:pPr>
            <a:endParaRPr lang="en-US" sz="2400" b="1" dirty="0">
              <a:ea typeface="Calibri"/>
              <a:cs typeface="Calibri"/>
              <a:sym typeface="Calibri"/>
            </a:endParaRPr>
          </a:p>
        </p:txBody>
      </p:sp>
      <p:sp>
        <p:nvSpPr>
          <p:cNvPr id="8" name="Google Shape;573;p81">
            <a:extLst>
              <a:ext uri="{FF2B5EF4-FFF2-40B4-BE49-F238E27FC236}">
                <a16:creationId xmlns:a16="http://schemas.microsoft.com/office/drawing/2014/main" id="{4BEBEE1E-EA35-A031-38F2-217D94A3F21A}"/>
              </a:ext>
            </a:extLst>
          </p:cNvPr>
          <p:cNvSpPr txBox="1"/>
          <p:nvPr/>
        </p:nvSpPr>
        <p:spPr>
          <a:xfrm>
            <a:off x="6995501" y="3025320"/>
            <a:ext cx="4674812" cy="55521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lvl="0">
              <a:buClr>
                <a:srgbClr val="000000"/>
              </a:buClr>
              <a:buSzPts val="1800"/>
            </a:pPr>
            <a:r>
              <a:rPr lang="en-US" sz="2400" dirty="0" err="1">
                <a:ea typeface="Arial"/>
                <a:cs typeface="Calibri"/>
                <a:sym typeface="Calibri"/>
              </a:rPr>
              <a:t>au.linkedin.com</a:t>
            </a:r>
            <a:r>
              <a:rPr lang="en-US" sz="2400" dirty="0">
                <a:ea typeface="Arial"/>
                <a:cs typeface="Calibri"/>
                <a:sym typeface="Calibri"/>
              </a:rPr>
              <a:t>/company/</a:t>
            </a:r>
            <a:r>
              <a:rPr lang="en-US" sz="2400" dirty="0" err="1">
                <a:ea typeface="Arial"/>
                <a:cs typeface="Calibri"/>
                <a:sym typeface="Calibri"/>
              </a:rPr>
              <a:t>ovicgov</a:t>
            </a:r>
            <a:endParaRPr lang="en-US" sz="2400" dirty="0">
              <a:ea typeface="Arial"/>
              <a:cs typeface="Calibri"/>
              <a:sym typeface="Calibri"/>
            </a:endParaRPr>
          </a:p>
          <a:p>
            <a:pPr lvl="0">
              <a:buClr>
                <a:srgbClr val="000000"/>
              </a:buClr>
              <a:buSzPts val="1800"/>
            </a:pPr>
            <a:endParaRPr lang="en-US" sz="2400" dirty="0">
              <a:ea typeface="Arial"/>
              <a:cs typeface="Arial"/>
              <a:sym typeface="Arial"/>
            </a:endParaRPr>
          </a:p>
        </p:txBody>
      </p:sp>
      <p:pic>
        <p:nvPicPr>
          <p:cNvPr id="10" name="Graphic 9" descr="Open envelope with solid fill">
            <a:extLst>
              <a:ext uri="{FF2B5EF4-FFF2-40B4-BE49-F238E27FC236}">
                <a16:creationId xmlns:a16="http://schemas.microsoft.com/office/drawing/2014/main" id="{9070BC9D-6CAF-D49D-5D29-E795BC3F0DB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3276" y="1902381"/>
            <a:ext cx="555216" cy="555216"/>
          </a:xfrm>
          <a:prstGeom prst="rect">
            <a:avLst/>
          </a:prstGeom>
        </p:spPr>
      </p:pic>
      <p:pic>
        <p:nvPicPr>
          <p:cNvPr id="12" name="Graphic 11" descr="Receiver with solid fill">
            <a:extLst>
              <a:ext uri="{FF2B5EF4-FFF2-40B4-BE49-F238E27FC236}">
                <a16:creationId xmlns:a16="http://schemas.microsoft.com/office/drawing/2014/main" id="{9C1A4275-CBB9-4ADE-B96B-708CC7AD1017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59497" y="2933752"/>
            <a:ext cx="555216" cy="55521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6D14D13F-D274-16F3-D59A-A6905945467C}"/>
              </a:ext>
            </a:extLst>
          </p:cNvPr>
          <p:cNvSpPr txBox="1"/>
          <p:nvPr/>
        </p:nvSpPr>
        <p:spPr>
          <a:xfrm>
            <a:off x="2292453" y="2927882"/>
            <a:ext cx="2039888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r>
              <a:rPr lang="en-US" sz="2400" b="0" i="0" u="none" strike="noStrike" cap="none" dirty="0">
                <a:ea typeface="Calibri"/>
                <a:cs typeface="Calibri"/>
                <a:sym typeface="Calibri"/>
              </a:rPr>
              <a:t>1300 006 842</a:t>
            </a:r>
          </a:p>
        </p:txBody>
      </p:sp>
      <p:pic>
        <p:nvPicPr>
          <p:cNvPr id="16" name="Graphic 15" descr="Internet with solid fill">
            <a:extLst>
              <a:ext uri="{FF2B5EF4-FFF2-40B4-BE49-F238E27FC236}">
                <a16:creationId xmlns:a16="http://schemas.microsoft.com/office/drawing/2014/main" id="{F5CE05D9-9B87-794E-5246-A5DD284DDB8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34454" y="3704992"/>
            <a:ext cx="804128" cy="804128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55BAF469-DEE7-678B-2381-78203A8A95B4}"/>
              </a:ext>
            </a:extLst>
          </p:cNvPr>
          <p:cNvSpPr txBox="1"/>
          <p:nvPr/>
        </p:nvSpPr>
        <p:spPr>
          <a:xfrm>
            <a:off x="2292453" y="3849006"/>
            <a:ext cx="3264024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Clr>
                <a:srgbClr val="000000"/>
              </a:buClr>
              <a:buSzPts val="1800"/>
            </a:pPr>
            <a:r>
              <a:rPr lang="en-US" sz="2400" dirty="0" err="1">
                <a:ea typeface="Calibri"/>
                <a:cs typeface="Calibri"/>
                <a:sym typeface="Calibri"/>
              </a:rPr>
              <a:t>www.ovic.vic.gov.au</a:t>
            </a:r>
            <a:endParaRPr lang="en-US" sz="2400" dirty="0">
              <a:ea typeface="Arial"/>
              <a:cs typeface="Arial"/>
              <a:sym typeface="Arial"/>
            </a:endParaRPr>
          </a:p>
        </p:txBody>
      </p:sp>
      <p:pic>
        <p:nvPicPr>
          <p:cNvPr id="20" name="Graphic 19" descr="Hashtag with solid fill">
            <a:extLst>
              <a:ext uri="{FF2B5EF4-FFF2-40B4-BE49-F238E27FC236}">
                <a16:creationId xmlns:a16="http://schemas.microsoft.com/office/drawing/2014/main" id="{C2C7721A-9F91-22C0-299F-8E97E583FCA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309133" y="1916832"/>
            <a:ext cx="568608" cy="56860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E432359-1C4C-B766-D169-6E2DC5C5C818}"/>
              </a:ext>
            </a:extLst>
          </p:cNvPr>
          <p:cNvSpPr txBox="1"/>
          <p:nvPr/>
        </p:nvSpPr>
        <p:spPr>
          <a:xfrm>
            <a:off x="7091160" y="1949156"/>
            <a:ext cx="268129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buClr>
                <a:srgbClr val="000000"/>
              </a:buClr>
              <a:buSzPts val="1800"/>
            </a:pPr>
            <a:r>
              <a:rPr lang="en-US" sz="2400" dirty="0">
                <a:ea typeface="Calibri"/>
                <a:cs typeface="Calibri"/>
                <a:sym typeface="Calibri"/>
              </a:rPr>
              <a:t>@OVIC_AU</a:t>
            </a:r>
          </a:p>
        </p:txBody>
      </p:sp>
      <p:pic>
        <p:nvPicPr>
          <p:cNvPr id="24" name="Graphic 23" descr="Link with solid fill">
            <a:extLst>
              <a:ext uri="{FF2B5EF4-FFF2-40B4-BE49-F238E27FC236}">
                <a16:creationId xmlns:a16="http://schemas.microsoft.com/office/drawing/2014/main" id="{05BCCE72-505E-7C43-6AF6-DC821646CE39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227925" y="2937416"/>
            <a:ext cx="731025" cy="7310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5697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1505" y="620688"/>
            <a:ext cx="9001000" cy="555215"/>
          </a:xfrm>
        </p:spPr>
        <p:txBody>
          <a:bodyPr/>
          <a:lstStyle/>
          <a:p>
            <a:r>
              <a:rPr lang="en-AU" dirty="0"/>
              <a:t>What will we cover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711624" y="4884801"/>
            <a:ext cx="9001000" cy="504056"/>
          </a:xfrm>
        </p:spPr>
        <p:txBody>
          <a:bodyPr/>
          <a:lstStyle/>
          <a:p>
            <a:r>
              <a:rPr lang="en-AU" sz="2800" dirty="0"/>
              <a:t>Lessons from the pandemic</a:t>
            </a:r>
          </a:p>
          <a:p>
            <a:pPr marL="457200" indent="-457200">
              <a:buFont typeface="+mj-lt"/>
              <a:buAutoNum type="arabicPeriod"/>
            </a:pPr>
            <a:endParaRPr lang="en-AU" sz="2000" dirty="0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9F22701F-F76E-FBD5-966E-8D9538F95EB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31950" y="206375"/>
            <a:ext cx="9001125" cy="252413"/>
          </a:xfrm>
        </p:spPr>
        <p:txBody>
          <a:bodyPr/>
          <a:lstStyle/>
          <a:p>
            <a:r>
              <a:rPr lang="en-AU" dirty="0"/>
              <a:t>ISACA AGM 26 May 2022</a:t>
            </a:r>
          </a:p>
        </p:txBody>
      </p:sp>
      <p:pic>
        <p:nvPicPr>
          <p:cNvPr id="10" name="Graphic 9" descr="Contract with solid fill">
            <a:extLst>
              <a:ext uri="{FF2B5EF4-FFF2-40B4-BE49-F238E27FC236}">
                <a16:creationId xmlns:a16="http://schemas.microsoft.com/office/drawing/2014/main" id="{32067594-87F7-3C7D-DA37-C6573D95E97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6323" y="2564904"/>
            <a:ext cx="792088" cy="792088"/>
          </a:xfrm>
          <a:prstGeom prst="rect">
            <a:avLst/>
          </a:prstGeom>
        </p:spPr>
      </p:pic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3EC1C83-E8CE-7A99-44C1-C4A9F2B7B0CA}"/>
              </a:ext>
            </a:extLst>
          </p:cNvPr>
          <p:cNvSpPr txBox="1">
            <a:spLocks/>
          </p:cNvSpPr>
          <p:nvPr/>
        </p:nvSpPr>
        <p:spPr>
          <a:xfrm>
            <a:off x="2711624" y="2496742"/>
            <a:ext cx="7848872" cy="792088"/>
          </a:xfrm>
          <a:prstGeom prst="rect">
            <a:avLst/>
          </a:prstGeom>
        </p:spPr>
        <p:txBody>
          <a:bodyPr lIns="0" rIns="0"/>
          <a:lstStyle>
            <a:lvl1pPr marL="0" indent="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Font typeface="Arial" charset="0"/>
              <a:buNone/>
              <a:defRPr sz="2400" b="0" i="0" kern="120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938" indent="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Font typeface="Arial" charset="0"/>
              <a:buNone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342900" indent="-34290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700088" indent="-34290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155700" indent="-395288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  <a:tabLst/>
              <a:defRPr sz="2400" b="0" i="0" kern="120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/>
              <a:t>Outsourcing and information security: lessons from an OVIC investigation</a:t>
            </a:r>
          </a:p>
        </p:txBody>
      </p:sp>
      <p:pic>
        <p:nvPicPr>
          <p:cNvPr id="17" name="Graphic 16" descr="Illustrator with solid fill">
            <a:extLst>
              <a:ext uri="{FF2B5EF4-FFF2-40B4-BE49-F238E27FC236}">
                <a16:creationId xmlns:a16="http://schemas.microsoft.com/office/drawing/2014/main" id="{6792E21A-6CBA-B9DC-448D-0703E232B22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526323" y="3717032"/>
            <a:ext cx="792088" cy="792088"/>
          </a:xfrm>
          <a:prstGeom prst="rect">
            <a:avLst/>
          </a:prstGeom>
        </p:spPr>
      </p:pic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6B8E1F9-1DDC-6656-31A0-CBDB840DD08B}"/>
              </a:ext>
            </a:extLst>
          </p:cNvPr>
          <p:cNvSpPr txBox="1">
            <a:spLocks/>
          </p:cNvSpPr>
          <p:nvPr/>
        </p:nvSpPr>
        <p:spPr>
          <a:xfrm>
            <a:off x="2711624" y="3834787"/>
            <a:ext cx="9001000" cy="504056"/>
          </a:xfrm>
          <a:prstGeom prst="rect">
            <a:avLst/>
          </a:prstGeom>
        </p:spPr>
        <p:txBody>
          <a:bodyPr lIns="0" rIns="0"/>
          <a:lstStyle>
            <a:lvl1pPr marL="0" indent="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Font typeface="Arial" charset="0"/>
              <a:buNone/>
              <a:defRPr sz="2400" b="0" i="0" kern="120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938" indent="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Font typeface="Arial" charset="0"/>
              <a:buNone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342900" indent="-34290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700088" indent="-34290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155700" indent="-395288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  <a:tabLst/>
              <a:defRPr sz="2400" b="0" i="0" kern="120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/>
              <a:t>Artificial intelligence and facial recognition: OVIC’s view</a:t>
            </a:r>
          </a:p>
        </p:txBody>
      </p:sp>
      <p:pic>
        <p:nvPicPr>
          <p:cNvPr id="20" name="Graphic 19" descr="Immunity with solid fill">
            <a:extLst>
              <a:ext uri="{FF2B5EF4-FFF2-40B4-BE49-F238E27FC236}">
                <a16:creationId xmlns:a16="http://schemas.microsoft.com/office/drawing/2014/main" id="{325823A3-CB87-D521-41BB-399CEDBDF2F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26323" y="4797151"/>
            <a:ext cx="792089" cy="792089"/>
          </a:xfrm>
          <a:prstGeom prst="rect">
            <a:avLst/>
          </a:prstGeom>
        </p:spPr>
      </p:pic>
      <p:pic>
        <p:nvPicPr>
          <p:cNvPr id="22" name="Graphic 21" descr="Lock with solid fill">
            <a:extLst>
              <a:ext uri="{FF2B5EF4-FFF2-40B4-BE49-F238E27FC236}">
                <a16:creationId xmlns:a16="http://schemas.microsoft.com/office/drawing/2014/main" id="{04B53A3C-C61A-5EFE-F579-938EBA009F56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465167" y="1355012"/>
            <a:ext cx="914400" cy="914400"/>
          </a:xfrm>
          <a:prstGeom prst="rect">
            <a:avLst/>
          </a:prstGeom>
        </p:spPr>
      </p:pic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27F58A78-FB95-D285-EF17-EE64A5321F6C}"/>
              </a:ext>
            </a:extLst>
          </p:cNvPr>
          <p:cNvSpPr txBox="1">
            <a:spLocks/>
          </p:cNvSpPr>
          <p:nvPr/>
        </p:nvSpPr>
        <p:spPr>
          <a:xfrm>
            <a:off x="2711624" y="1560184"/>
            <a:ext cx="9001000" cy="504056"/>
          </a:xfrm>
          <a:prstGeom prst="rect">
            <a:avLst/>
          </a:prstGeom>
        </p:spPr>
        <p:txBody>
          <a:bodyPr lIns="0" rIns="0"/>
          <a:lstStyle>
            <a:lvl1pPr marL="0" indent="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Font typeface="Arial" charset="0"/>
              <a:buNone/>
              <a:defRPr sz="2400" b="0" i="0" kern="120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938" indent="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Font typeface="Arial" charset="0"/>
              <a:buNone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342900" indent="-34290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700088" indent="-34290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155700" indent="-395288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  <a:tabLst/>
              <a:defRPr sz="2400" b="0" i="0" kern="120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2800" dirty="0"/>
              <a:t>Victorian Protective Data Security Framework and Standards</a:t>
            </a:r>
          </a:p>
        </p:txBody>
      </p:sp>
    </p:spTree>
    <p:extLst>
      <p:ext uri="{BB962C8B-B14F-4D97-AF65-F5344CB8AC3E}">
        <p14:creationId xmlns:p14="http://schemas.microsoft.com/office/powerpoint/2010/main" val="25516090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1505" y="620688"/>
            <a:ext cx="9001000" cy="555215"/>
          </a:xfrm>
        </p:spPr>
        <p:txBody>
          <a:bodyPr/>
          <a:lstStyle/>
          <a:p>
            <a:r>
              <a:rPr lang="en-AU" dirty="0"/>
              <a:t>Office of the Victorian Information Commissioner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631505" y="206525"/>
            <a:ext cx="9001000" cy="252000"/>
          </a:xfrm>
        </p:spPr>
        <p:txBody>
          <a:bodyPr/>
          <a:lstStyle/>
          <a:p>
            <a:r>
              <a:rPr lang="en-AU" dirty="0"/>
              <a:t>ISACA AGM 26 May 2022</a:t>
            </a:r>
          </a:p>
        </p:txBody>
      </p:sp>
      <p:pic>
        <p:nvPicPr>
          <p:cNvPr id="32" name="Picture 31" descr="Text, letter&#10;&#10;Description automatically generated">
            <a:extLst>
              <a:ext uri="{FF2B5EF4-FFF2-40B4-BE49-F238E27FC236}">
                <a16:creationId xmlns:a16="http://schemas.microsoft.com/office/drawing/2014/main" id="{D9991C99-60BA-6C38-F597-4911CA5A9FF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1505" y="1556792"/>
            <a:ext cx="9122677" cy="3522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814959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137BF8F-A215-023E-4B6B-FD842BA979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ivacy Awareness Week 2022</a:t>
            </a:r>
          </a:p>
        </p:txBody>
      </p:sp>
      <p:pic>
        <p:nvPicPr>
          <p:cNvPr id="6" name="Content Placeholder 5" descr="Graphical user interface&#10;&#10;Description automatically generated">
            <a:extLst>
              <a:ext uri="{FF2B5EF4-FFF2-40B4-BE49-F238E27FC236}">
                <a16:creationId xmlns:a16="http://schemas.microsoft.com/office/drawing/2014/main" id="{7E84C635-4F74-2B11-DFAB-E61CA2EF6B88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9496" y="1399886"/>
            <a:ext cx="8185355" cy="4058227"/>
          </a:xfrm>
        </p:spPr>
      </p:pic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468C44AE-D08C-DC5E-7693-0067890264F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</p:spTree>
    <p:extLst>
      <p:ext uri="{BB962C8B-B14F-4D97-AF65-F5344CB8AC3E}">
        <p14:creationId xmlns:p14="http://schemas.microsoft.com/office/powerpoint/2010/main" val="42923615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81A1EA8-5140-79F0-2F6B-9B7C3CEF2E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ctorian Protective Data Security Framework and Standards</a:t>
            </a:r>
          </a:p>
        </p:txBody>
      </p:sp>
    </p:spTree>
    <p:extLst>
      <p:ext uri="{BB962C8B-B14F-4D97-AF65-F5344CB8AC3E}">
        <p14:creationId xmlns:p14="http://schemas.microsoft.com/office/powerpoint/2010/main" val="10631594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2A175-36E6-5CDC-FE60-6F03DC8A19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Victorian Protective Data Security Framework and Standard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E291A78-E17A-748E-E2E2-175D60AF5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BE8237B6-460E-9A12-8377-FD2F9A609BDA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50262" y="2979962"/>
            <a:ext cx="1563624" cy="2450730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  <a:reflection blurRad="6350" stA="52000" endA="300" endPos="35000" dir="5400000" sy="-100000" algn="bl" rotWithShape="0"/>
          </a:effectLst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C8077871-59C5-4E37-518E-EC98DCE89A2B}"/>
              </a:ext>
            </a:extLst>
          </p:cNvPr>
          <p:cNvGrpSpPr/>
          <p:nvPr/>
        </p:nvGrpSpPr>
        <p:grpSpPr>
          <a:xfrm>
            <a:off x="5879976" y="2256627"/>
            <a:ext cx="4608512" cy="3557929"/>
            <a:chOff x="3131840" y="2060848"/>
            <a:chExt cx="6035855" cy="4214670"/>
          </a:xfrm>
        </p:grpSpPr>
        <p:sp>
          <p:nvSpPr>
            <p:cNvPr id="12" name="Freeform 11">
              <a:extLst>
                <a:ext uri="{FF2B5EF4-FFF2-40B4-BE49-F238E27FC236}">
                  <a16:creationId xmlns:a16="http://schemas.microsoft.com/office/drawing/2014/main" id="{584225E8-6A09-B5B2-A6F1-745FD62350C7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blackWhite">
            <a:xfrm>
              <a:off x="5223869" y="2061201"/>
              <a:ext cx="1856803" cy="1186666"/>
            </a:xfrm>
            <a:custGeom>
              <a:avLst/>
              <a:gdLst>
                <a:gd name="T0" fmla="*/ 0 w 582"/>
                <a:gd name="T1" fmla="*/ 2147483647 h 520"/>
                <a:gd name="T2" fmla="*/ 2147483647 w 582"/>
                <a:gd name="T3" fmla="*/ 2147483647 h 520"/>
                <a:gd name="T4" fmla="*/ 2147483647 w 582"/>
                <a:gd name="T5" fmla="*/ 0 h 520"/>
                <a:gd name="T6" fmla="*/ 0 w 582"/>
                <a:gd name="T7" fmla="*/ 2147483647 h 5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82"/>
                <a:gd name="T13" fmla="*/ 0 h 520"/>
                <a:gd name="T14" fmla="*/ 582 w 582"/>
                <a:gd name="T15" fmla="*/ 520 h 5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82" h="520">
                  <a:moveTo>
                    <a:pt x="0" y="519"/>
                  </a:moveTo>
                  <a:lnTo>
                    <a:pt x="581" y="519"/>
                  </a:lnTo>
                  <a:lnTo>
                    <a:pt x="291" y="0"/>
                  </a:lnTo>
                  <a:lnTo>
                    <a:pt x="0" y="519"/>
                  </a:lnTo>
                </a:path>
              </a:pathLst>
            </a:custGeom>
            <a:solidFill>
              <a:schemeClr val="tx2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endParaRPr lang="en-US" sz="1400" ker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:a16="http://schemas.microsoft.com/office/drawing/2014/main" id="{3C3917E3-BFA1-6AD2-C8C7-A7AFF1FAE7A4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blackWhite">
            <a:xfrm>
              <a:off x="5223870" y="2060848"/>
              <a:ext cx="1856803" cy="1186665"/>
            </a:xfrm>
            <a:custGeom>
              <a:avLst/>
              <a:gdLst>
                <a:gd name="T0" fmla="*/ 0 w 582"/>
                <a:gd name="T1" fmla="*/ 516530 h 520"/>
                <a:gd name="T2" fmla="*/ 637078 w 582"/>
                <a:gd name="T3" fmla="*/ 516530 h 520"/>
                <a:gd name="T4" fmla="*/ 319088 w 582"/>
                <a:gd name="T5" fmla="*/ 0 h 520"/>
                <a:gd name="T6" fmla="*/ 0 w 582"/>
                <a:gd name="T7" fmla="*/ 516530 h 520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582"/>
                <a:gd name="T13" fmla="*/ 0 h 520"/>
                <a:gd name="T14" fmla="*/ 582 w 582"/>
                <a:gd name="T15" fmla="*/ 520 h 520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582" h="520">
                  <a:moveTo>
                    <a:pt x="0" y="519"/>
                  </a:moveTo>
                  <a:lnTo>
                    <a:pt x="581" y="519"/>
                  </a:lnTo>
                  <a:lnTo>
                    <a:pt x="291" y="0"/>
                  </a:lnTo>
                  <a:lnTo>
                    <a:pt x="0" y="519"/>
                  </a:lnTo>
                </a:path>
              </a:pathLst>
            </a:custGeom>
            <a:solidFill>
              <a:srgbClr val="5D0B85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288000" rIns="36000" bIns="36000" anchor="ctr" anchorCtr="0">
              <a:noAutofit/>
            </a:bodyPr>
            <a:lstStyle/>
            <a:p>
              <a:pPr algn="ctr">
                <a:defRPr/>
              </a:pPr>
              <a:endParaRPr lang="en-US" sz="1400" b="1" dirty="0">
                <a:solidFill>
                  <a:srgbClr val="FFFFFF"/>
                </a:solidFill>
              </a:endParaRPr>
            </a:p>
            <a:p>
              <a:pPr algn="ctr">
                <a:defRPr/>
              </a:pPr>
              <a:r>
                <a:rPr lang="en-US" sz="1250" dirty="0">
                  <a:solidFill>
                    <a:srgbClr val="FFFFFF"/>
                  </a:solidFill>
                </a:rPr>
                <a:t>PDP Act </a:t>
              </a:r>
            </a:p>
            <a:p>
              <a:pPr algn="ctr">
                <a:defRPr/>
              </a:pPr>
              <a:r>
                <a:rPr lang="en-US" sz="1250" dirty="0">
                  <a:solidFill>
                    <a:srgbClr val="FFFFFF"/>
                  </a:solidFill>
                </a:rPr>
                <a:t>2014</a:t>
              </a:r>
              <a:endParaRPr lang="en-AU" sz="1250" dirty="0">
                <a:solidFill>
                  <a:srgbClr val="FFFFFF"/>
                </a:solidFill>
              </a:endParaRPr>
            </a:p>
            <a:p>
              <a:pPr algn="ctr">
                <a:defRPr/>
              </a:pPr>
              <a:endParaRPr lang="en-US" sz="1200" kern="0" dirty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4" name="Freeform 25">
              <a:extLst>
                <a:ext uri="{FF2B5EF4-FFF2-40B4-BE49-F238E27FC236}">
                  <a16:creationId xmlns:a16="http://schemas.microsoft.com/office/drawing/2014/main" id="{3E447FA3-3B2D-68F9-160B-AEC9C2EB0A68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blackWhite">
            <a:xfrm>
              <a:off x="4803462" y="3244226"/>
              <a:ext cx="2692612" cy="535093"/>
            </a:xfrm>
            <a:custGeom>
              <a:avLst/>
              <a:gdLst>
                <a:gd name="T0" fmla="*/ 0 w 843"/>
                <a:gd name="T1" fmla="*/ 2147483647 h 235"/>
                <a:gd name="T2" fmla="*/ 2147483647 w 843"/>
                <a:gd name="T3" fmla="*/ 2147483647 h 235"/>
                <a:gd name="T4" fmla="*/ 2147483647 w 843"/>
                <a:gd name="T5" fmla="*/ 0 h 235"/>
                <a:gd name="T6" fmla="*/ 2147483647 w 843"/>
                <a:gd name="T7" fmla="*/ 0 h 235"/>
                <a:gd name="T8" fmla="*/ 0 w 843"/>
                <a:gd name="T9" fmla="*/ 2147483647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43"/>
                <a:gd name="T16" fmla="*/ 0 h 235"/>
                <a:gd name="T17" fmla="*/ 843 w 843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43" h="235">
                  <a:moveTo>
                    <a:pt x="0" y="234"/>
                  </a:moveTo>
                  <a:lnTo>
                    <a:pt x="842" y="234"/>
                  </a:lnTo>
                  <a:lnTo>
                    <a:pt x="711" y="0"/>
                  </a:lnTo>
                  <a:lnTo>
                    <a:pt x="130" y="0"/>
                  </a:lnTo>
                  <a:lnTo>
                    <a:pt x="0" y="234"/>
                  </a:lnTo>
                </a:path>
              </a:pathLst>
            </a:custGeom>
            <a:solidFill>
              <a:sysClr val="window" lastClr="FFFFFF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endParaRPr lang="en-US" sz="1400" ker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5" name="Freeform 27">
              <a:extLst>
                <a:ext uri="{FF2B5EF4-FFF2-40B4-BE49-F238E27FC236}">
                  <a16:creationId xmlns:a16="http://schemas.microsoft.com/office/drawing/2014/main" id="{3A61EBF6-21D0-5C91-FD84-323D4F173732}"/>
                </a:ext>
              </a:extLst>
            </p:cNvPr>
            <p:cNvSpPr>
              <a:spLocks/>
            </p:cNvSpPr>
            <p:nvPr>
              <p:custDataLst>
                <p:tags r:id="rId4"/>
              </p:custDataLst>
            </p:nvPr>
          </p:nvSpPr>
          <p:spPr bwMode="blackWhite">
            <a:xfrm>
              <a:off x="4803462" y="3244226"/>
              <a:ext cx="2692612" cy="535093"/>
            </a:xfrm>
            <a:custGeom>
              <a:avLst/>
              <a:gdLst>
                <a:gd name="T0" fmla="*/ 0 w 843"/>
                <a:gd name="T1" fmla="*/ 2147483647 h 235"/>
                <a:gd name="T2" fmla="*/ 2147483647 w 843"/>
                <a:gd name="T3" fmla="*/ 2147483647 h 235"/>
                <a:gd name="T4" fmla="*/ 2147483647 w 843"/>
                <a:gd name="T5" fmla="*/ 0 h 235"/>
                <a:gd name="T6" fmla="*/ 2147483647 w 843"/>
                <a:gd name="T7" fmla="*/ 0 h 235"/>
                <a:gd name="T8" fmla="*/ 0 w 843"/>
                <a:gd name="T9" fmla="*/ 2147483647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843"/>
                <a:gd name="T16" fmla="*/ 0 h 235"/>
                <a:gd name="T17" fmla="*/ 843 w 843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843" h="235">
                  <a:moveTo>
                    <a:pt x="0" y="234"/>
                  </a:moveTo>
                  <a:lnTo>
                    <a:pt x="842" y="234"/>
                  </a:lnTo>
                  <a:lnTo>
                    <a:pt x="711" y="0"/>
                  </a:lnTo>
                  <a:lnTo>
                    <a:pt x="130" y="0"/>
                  </a:lnTo>
                  <a:lnTo>
                    <a:pt x="0" y="234"/>
                  </a:lnTo>
                </a:path>
              </a:pathLst>
            </a:custGeom>
            <a:solidFill>
              <a:srgbClr val="D22088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r>
                <a:rPr lang="en-US" sz="1400" kern="0" dirty="0">
                  <a:solidFill>
                    <a:prstClr val="white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Principles </a:t>
              </a:r>
            </a:p>
          </p:txBody>
        </p:sp>
        <p:sp>
          <p:nvSpPr>
            <p:cNvPr id="16" name="Freeform 29">
              <a:extLst>
                <a:ext uri="{FF2B5EF4-FFF2-40B4-BE49-F238E27FC236}">
                  <a16:creationId xmlns:a16="http://schemas.microsoft.com/office/drawing/2014/main" id="{EE9DBF48-6C20-37B2-1BAA-F23DD7CB2873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 bwMode="blackWhite">
            <a:xfrm>
              <a:off x="4383054" y="3775677"/>
              <a:ext cx="3533428" cy="531452"/>
            </a:xfrm>
            <a:custGeom>
              <a:avLst/>
              <a:gdLst>
                <a:gd name="T0" fmla="*/ 2147483647 w 1106"/>
                <a:gd name="T1" fmla="*/ 0 h 233"/>
                <a:gd name="T2" fmla="*/ 0 w 1106"/>
                <a:gd name="T3" fmla="*/ 2147483647 h 233"/>
                <a:gd name="T4" fmla="*/ 2147483647 w 1106"/>
                <a:gd name="T5" fmla="*/ 2147483647 h 233"/>
                <a:gd name="T6" fmla="*/ 2147483647 w 1106"/>
                <a:gd name="T7" fmla="*/ 0 h 233"/>
                <a:gd name="T8" fmla="*/ 2147483647 w 1106"/>
                <a:gd name="T9" fmla="*/ 0 h 2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106"/>
                <a:gd name="T16" fmla="*/ 0 h 233"/>
                <a:gd name="T17" fmla="*/ 1106 w 1106"/>
                <a:gd name="T18" fmla="*/ 233 h 233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106" h="233">
                  <a:moveTo>
                    <a:pt x="132" y="0"/>
                  </a:moveTo>
                  <a:lnTo>
                    <a:pt x="0" y="232"/>
                  </a:lnTo>
                  <a:lnTo>
                    <a:pt x="1105" y="232"/>
                  </a:lnTo>
                  <a:lnTo>
                    <a:pt x="974" y="0"/>
                  </a:lnTo>
                  <a:lnTo>
                    <a:pt x="132" y="0"/>
                  </a:lnTo>
                </a:path>
              </a:pathLst>
            </a:custGeom>
            <a:solidFill>
              <a:srgbClr val="B23C98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r>
                <a:rPr lang="en-US" sz="1400" kern="0" dirty="0">
                  <a:solidFill>
                    <a:prstClr val="white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Policy </a:t>
              </a:r>
            </a:p>
          </p:txBody>
        </p:sp>
        <p:sp>
          <p:nvSpPr>
            <p:cNvPr id="17" name="Freeform 31">
              <a:extLst>
                <a:ext uri="{FF2B5EF4-FFF2-40B4-BE49-F238E27FC236}">
                  <a16:creationId xmlns:a16="http://schemas.microsoft.com/office/drawing/2014/main" id="{4053743A-DFDF-13B9-87B1-F76AD13B415B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 bwMode="blackWhite">
            <a:xfrm>
              <a:off x="3967652" y="4307129"/>
              <a:ext cx="4369237" cy="535093"/>
            </a:xfrm>
            <a:custGeom>
              <a:avLst/>
              <a:gdLst>
                <a:gd name="T0" fmla="*/ 2147483647 w 1367"/>
                <a:gd name="T1" fmla="*/ 0 h 235"/>
                <a:gd name="T2" fmla="*/ 0 w 1367"/>
                <a:gd name="T3" fmla="*/ 2147483647 h 235"/>
                <a:gd name="T4" fmla="*/ 2147483647 w 1367"/>
                <a:gd name="T5" fmla="*/ 2147483647 h 235"/>
                <a:gd name="T6" fmla="*/ 2147483647 w 1367"/>
                <a:gd name="T7" fmla="*/ 0 h 235"/>
                <a:gd name="T8" fmla="*/ 2147483647 w 1367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7"/>
                <a:gd name="T16" fmla="*/ 0 h 235"/>
                <a:gd name="T17" fmla="*/ 1367 w 1367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7" h="235">
                  <a:moveTo>
                    <a:pt x="130" y="0"/>
                  </a:moveTo>
                  <a:lnTo>
                    <a:pt x="0" y="234"/>
                  </a:lnTo>
                  <a:lnTo>
                    <a:pt x="1366" y="234"/>
                  </a:lnTo>
                  <a:lnTo>
                    <a:pt x="1235" y="0"/>
                  </a:lnTo>
                  <a:lnTo>
                    <a:pt x="130" y="0"/>
                  </a:lnTo>
                </a:path>
              </a:pathLst>
            </a:custGeom>
            <a:solidFill>
              <a:sysClr val="window" lastClr="FFFFFF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endParaRPr lang="en-US" sz="1400" ker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B99EA11-CBD5-7523-5615-BF9E5B27399C}"/>
                </a:ext>
              </a:extLst>
            </p:cNvPr>
            <p:cNvSpPr>
              <a:spLocks/>
            </p:cNvSpPr>
            <p:nvPr>
              <p:custDataLst>
                <p:tags r:id="rId7"/>
              </p:custDataLst>
            </p:nvPr>
          </p:nvSpPr>
          <p:spPr bwMode="blackWhite">
            <a:xfrm>
              <a:off x="3967652" y="4307129"/>
              <a:ext cx="4369237" cy="535093"/>
            </a:xfrm>
            <a:custGeom>
              <a:avLst/>
              <a:gdLst>
                <a:gd name="T0" fmla="*/ 2147483647 w 1367"/>
                <a:gd name="T1" fmla="*/ 0 h 235"/>
                <a:gd name="T2" fmla="*/ 0 w 1367"/>
                <a:gd name="T3" fmla="*/ 2147483647 h 235"/>
                <a:gd name="T4" fmla="*/ 2147483647 w 1367"/>
                <a:gd name="T5" fmla="*/ 2147483647 h 235"/>
                <a:gd name="T6" fmla="*/ 2147483647 w 1367"/>
                <a:gd name="T7" fmla="*/ 0 h 235"/>
                <a:gd name="T8" fmla="*/ 2147483647 w 1367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67"/>
                <a:gd name="T16" fmla="*/ 0 h 235"/>
                <a:gd name="T17" fmla="*/ 1367 w 1367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67" h="235">
                  <a:moveTo>
                    <a:pt x="130" y="0"/>
                  </a:moveTo>
                  <a:lnTo>
                    <a:pt x="0" y="234"/>
                  </a:lnTo>
                  <a:lnTo>
                    <a:pt x="1366" y="234"/>
                  </a:lnTo>
                  <a:lnTo>
                    <a:pt x="1235" y="0"/>
                  </a:lnTo>
                  <a:lnTo>
                    <a:pt x="130" y="0"/>
                  </a:lnTo>
                </a:path>
              </a:pathLst>
            </a:custGeom>
            <a:solidFill>
              <a:srgbClr val="85389C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r>
                <a:rPr lang="en-US" sz="1400" kern="0" dirty="0">
                  <a:solidFill>
                    <a:prstClr val="white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Standards </a:t>
              </a:r>
            </a:p>
          </p:txBody>
        </p:sp>
        <p:sp>
          <p:nvSpPr>
            <p:cNvPr id="19" name="Freeform 34">
              <a:extLst>
                <a:ext uri="{FF2B5EF4-FFF2-40B4-BE49-F238E27FC236}">
                  <a16:creationId xmlns:a16="http://schemas.microsoft.com/office/drawing/2014/main" id="{28729A95-7816-48D3-504F-6D8D79AFC883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blackWhite">
            <a:xfrm>
              <a:off x="3547245" y="4838581"/>
              <a:ext cx="5205049" cy="535093"/>
            </a:xfrm>
            <a:custGeom>
              <a:avLst/>
              <a:gdLst>
                <a:gd name="T0" fmla="*/ 2147483647 w 1628"/>
                <a:gd name="T1" fmla="*/ 0 h 235"/>
                <a:gd name="T2" fmla="*/ 0 w 1628"/>
                <a:gd name="T3" fmla="*/ 2147483647 h 235"/>
                <a:gd name="T4" fmla="*/ 2147483647 w 1628"/>
                <a:gd name="T5" fmla="*/ 2147483647 h 235"/>
                <a:gd name="T6" fmla="*/ 2147483647 w 1628"/>
                <a:gd name="T7" fmla="*/ 0 h 235"/>
                <a:gd name="T8" fmla="*/ 2147483647 w 1628"/>
                <a:gd name="T9" fmla="*/ 0 h 2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628"/>
                <a:gd name="T16" fmla="*/ 0 h 235"/>
                <a:gd name="T17" fmla="*/ 1628 w 1628"/>
                <a:gd name="T18" fmla="*/ 235 h 23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628" h="235">
                  <a:moveTo>
                    <a:pt x="131" y="0"/>
                  </a:moveTo>
                  <a:lnTo>
                    <a:pt x="0" y="234"/>
                  </a:lnTo>
                  <a:lnTo>
                    <a:pt x="1627" y="234"/>
                  </a:lnTo>
                  <a:lnTo>
                    <a:pt x="1497" y="0"/>
                  </a:lnTo>
                  <a:lnTo>
                    <a:pt x="131" y="0"/>
                  </a:lnTo>
                </a:path>
              </a:pathLst>
            </a:custGeom>
            <a:solidFill>
              <a:srgbClr val="C874B5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r>
                <a:rPr lang="en-US" sz="1400" kern="0" dirty="0">
                  <a:solidFill>
                    <a:prstClr val="white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Security guides </a:t>
              </a:r>
            </a:p>
          </p:txBody>
        </p:sp>
        <p:sp>
          <p:nvSpPr>
            <p:cNvPr id="20" name="Freeform 36">
              <a:extLst>
                <a:ext uri="{FF2B5EF4-FFF2-40B4-BE49-F238E27FC236}">
                  <a16:creationId xmlns:a16="http://schemas.microsoft.com/office/drawing/2014/main" id="{113A8ED4-9B9B-41E8-8AB1-028100468D7E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blackWhite">
            <a:xfrm>
              <a:off x="3131840" y="5373673"/>
              <a:ext cx="6035855" cy="531452"/>
            </a:xfrm>
            <a:custGeom>
              <a:avLst/>
              <a:gdLst>
                <a:gd name="T0" fmla="*/ 2147483647 w 1890"/>
                <a:gd name="T1" fmla="*/ 0 h 234"/>
                <a:gd name="T2" fmla="*/ 0 w 1890"/>
                <a:gd name="T3" fmla="*/ 2147483647 h 234"/>
                <a:gd name="T4" fmla="*/ 2147483647 w 1890"/>
                <a:gd name="T5" fmla="*/ 2147483647 h 234"/>
                <a:gd name="T6" fmla="*/ 2147483647 w 1890"/>
                <a:gd name="T7" fmla="*/ 0 h 234"/>
                <a:gd name="T8" fmla="*/ 2147483647 w 1890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90"/>
                <a:gd name="T16" fmla="*/ 0 h 234"/>
                <a:gd name="T17" fmla="*/ 1890 w 1890"/>
                <a:gd name="T18" fmla="*/ 234 h 2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90" h="234">
                  <a:moveTo>
                    <a:pt x="131" y="0"/>
                  </a:moveTo>
                  <a:lnTo>
                    <a:pt x="0" y="233"/>
                  </a:lnTo>
                  <a:lnTo>
                    <a:pt x="1889" y="233"/>
                  </a:lnTo>
                  <a:lnTo>
                    <a:pt x="1758" y="0"/>
                  </a:lnTo>
                  <a:lnTo>
                    <a:pt x="131" y="0"/>
                  </a:lnTo>
                </a:path>
              </a:pathLst>
            </a:custGeom>
            <a:solidFill>
              <a:sysClr val="window" lastClr="FFFFFF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endParaRPr lang="en-US" sz="1400" kern="0">
                <a:solidFill>
                  <a:prstClr val="white"/>
                </a:solidFill>
                <a:ea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1" name="Freeform 37">
              <a:extLst>
                <a:ext uri="{FF2B5EF4-FFF2-40B4-BE49-F238E27FC236}">
                  <a16:creationId xmlns:a16="http://schemas.microsoft.com/office/drawing/2014/main" id="{9D5910C6-DE9C-AB5C-C9C8-B1FC9BB28C88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blackWhite">
            <a:xfrm>
              <a:off x="3131840" y="5373673"/>
              <a:ext cx="6035855" cy="531452"/>
            </a:xfrm>
            <a:custGeom>
              <a:avLst/>
              <a:gdLst>
                <a:gd name="T0" fmla="*/ 143703 w 1890"/>
                <a:gd name="T1" fmla="*/ 0 h 234"/>
                <a:gd name="T2" fmla="*/ 0 w 1890"/>
                <a:gd name="T3" fmla="*/ 230785 h 234"/>
                <a:gd name="T4" fmla="*/ 2072178 w 1890"/>
                <a:gd name="T5" fmla="*/ 230785 h 234"/>
                <a:gd name="T6" fmla="*/ 1928475 w 1890"/>
                <a:gd name="T7" fmla="*/ 0 h 234"/>
                <a:gd name="T8" fmla="*/ 143703 w 1890"/>
                <a:gd name="T9" fmla="*/ 0 h 23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890"/>
                <a:gd name="T16" fmla="*/ 0 h 234"/>
                <a:gd name="T17" fmla="*/ 1890 w 1890"/>
                <a:gd name="T18" fmla="*/ 234 h 234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890" h="234">
                  <a:moveTo>
                    <a:pt x="131" y="0"/>
                  </a:moveTo>
                  <a:lnTo>
                    <a:pt x="0" y="233"/>
                  </a:lnTo>
                  <a:lnTo>
                    <a:pt x="1889" y="233"/>
                  </a:lnTo>
                  <a:lnTo>
                    <a:pt x="1758" y="0"/>
                  </a:lnTo>
                  <a:lnTo>
                    <a:pt x="131" y="0"/>
                  </a:lnTo>
                </a:path>
              </a:pathLst>
            </a:custGeom>
            <a:solidFill>
              <a:srgbClr val="B23C98"/>
            </a:solidFill>
            <a:ln w="12700" cap="rnd">
              <a:solidFill>
                <a:sysClr val="window" lastClr="FFFFFF"/>
              </a:solidFill>
              <a:round/>
              <a:headEnd type="none" w="sm" len="sm"/>
              <a:tailEnd type="none" w="sm" len="sm"/>
            </a:ln>
          </p:spPr>
          <p:txBody>
            <a:bodyPr lIns="36000" tIns="36000" rIns="36000" bIns="36000" anchor="ctr" anchorCtr="0">
              <a:noAutofit/>
            </a:bodyPr>
            <a:lstStyle/>
            <a:p>
              <a:pPr algn="ctr">
                <a:defRPr/>
              </a:pPr>
              <a:r>
                <a:rPr lang="en-US" sz="1400" kern="0" dirty="0">
                  <a:solidFill>
                    <a:prstClr val="white"/>
                  </a:solidFill>
                  <a:ea typeface="Segoe UI" panose="020B0502040204020203" pitchFamily="34" charset="0"/>
                  <a:cs typeface="Segoe UI" panose="020B0502040204020203" pitchFamily="34" charset="0"/>
                </a:rPr>
                <a:t>Agency specific policies and procedures 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079F1EF1-79F0-859F-EC67-CE206E804B13}"/>
                </a:ext>
              </a:extLst>
            </p:cNvPr>
            <p:cNvSpPr txBox="1"/>
            <p:nvPr/>
          </p:nvSpPr>
          <p:spPr>
            <a:xfrm rot="18420792">
              <a:off x="3586174" y="3344396"/>
              <a:ext cx="2092030" cy="483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Assurance </a:t>
              </a:r>
              <a:endParaRPr lang="en-AU" b="1" dirty="0"/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82A350A5-5CE7-41C8-F6DD-C50C652DC4FF}"/>
                </a:ext>
              </a:extLst>
            </p:cNvPr>
            <p:cNvSpPr txBox="1"/>
            <p:nvPr/>
          </p:nvSpPr>
          <p:spPr>
            <a:xfrm rot="3223370">
              <a:off x="6627075" y="3369548"/>
              <a:ext cx="2092030" cy="4837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Assurance </a:t>
              </a:r>
              <a:endParaRPr lang="en-AU" b="1" dirty="0"/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33542667-1585-946A-95A3-2141E8E04837}"/>
                </a:ext>
              </a:extLst>
            </p:cNvPr>
            <p:cNvSpPr txBox="1"/>
            <p:nvPr/>
          </p:nvSpPr>
          <p:spPr>
            <a:xfrm>
              <a:off x="5103751" y="5838013"/>
              <a:ext cx="2092030" cy="43750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b="1" dirty="0"/>
                <a:t>Assurance</a:t>
              </a:r>
              <a:r>
                <a:rPr lang="en-US" dirty="0"/>
                <a:t> </a:t>
              </a:r>
              <a:endParaRPr lang="en-AU" dirty="0"/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7B3113F9-37EE-6C00-0261-ECC2ED0B8B2F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1298" y="2256627"/>
            <a:ext cx="1567167" cy="2222528"/>
          </a:xfrm>
          <a:prstGeom prst="rect">
            <a:avLst/>
          </a:prstGeom>
          <a:ln>
            <a:solidFill>
              <a:schemeClr val="bg1">
                <a:lumMod val="8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  <a:reflection blurRad="6350" stA="50000" endA="300" endPos="5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366769891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2F886DC5-4B19-8D0E-F6B2-E074CCC18B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Outsourcing and the </a:t>
            </a:r>
            <a:r>
              <a:rPr lang="en-AU" i="1" dirty="0"/>
              <a:t>Privacy and Data Protection Act 2014 </a:t>
            </a:r>
            <a:r>
              <a:rPr lang="en-AU" dirty="0"/>
              <a:t>(Vic): lessons from an OVIC investigation</a:t>
            </a:r>
          </a:p>
        </p:txBody>
      </p:sp>
    </p:spTree>
    <p:extLst>
      <p:ext uri="{BB962C8B-B14F-4D97-AF65-F5344CB8AC3E}">
        <p14:creationId xmlns:p14="http://schemas.microsoft.com/office/powerpoint/2010/main" val="16367389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7358C6B-FACA-B44A-4A26-B5241B11C6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59497" y="2060848"/>
            <a:ext cx="9073008" cy="2088232"/>
          </a:xfrm>
        </p:spPr>
        <p:txBody>
          <a:bodyPr/>
          <a:lstStyle/>
          <a:p>
            <a:pPr algn="ctr"/>
            <a:r>
              <a:rPr lang="en-AU" sz="3600" dirty="0"/>
              <a:t>“Government can outsource the delivery of services, but not its responsibility to protect the information it holds.”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E3231888-1D19-24FB-BBBF-8E517F93C7E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9305792F-A840-8DA2-895D-A3EF80EAD200}"/>
              </a:ext>
            </a:extLst>
          </p:cNvPr>
          <p:cNvSpPr txBox="1">
            <a:spLocks/>
          </p:cNvSpPr>
          <p:nvPr/>
        </p:nvSpPr>
        <p:spPr>
          <a:xfrm>
            <a:off x="1523662" y="5319355"/>
            <a:ext cx="9577064" cy="432048"/>
          </a:xfrm>
          <a:prstGeom prst="rect">
            <a:avLst/>
          </a:prstGeom>
        </p:spPr>
        <p:txBody>
          <a:bodyPr lIns="0" rIns="0"/>
          <a:lstStyle>
            <a:lvl1pPr marL="0" indent="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Font typeface="Arial" charset="0"/>
              <a:buNone/>
              <a:defRPr sz="2400" b="0" i="0" kern="120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1pPr>
            <a:lvl2pPr marL="7938" indent="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Font typeface="Arial" charset="0"/>
              <a:buNone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2pPr>
            <a:lvl3pPr marL="342900" indent="-34290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3pPr>
            <a:lvl4pPr marL="700088" indent="-342900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tabLst/>
              <a:defRPr sz="2400" b="0" i="0" kern="120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4pPr>
            <a:lvl5pPr marL="1155700" indent="-395288" algn="l" defTabSz="457200" rtl="0" eaLnBrk="1" fontAlgn="base" hangingPunct="1">
              <a:spcBef>
                <a:spcPts val="600"/>
              </a:spcBef>
              <a:spcAft>
                <a:spcPts val="600"/>
              </a:spcAft>
              <a:buSzPct val="100000"/>
              <a:buFont typeface="Arial" charset="0"/>
              <a:buChar char="•"/>
              <a:tabLst/>
              <a:defRPr sz="2400" b="0" i="0" kern="1200" baseline="0">
                <a:solidFill>
                  <a:schemeClr val="accent4"/>
                </a:solidFill>
                <a:latin typeface="Calibri" charset="0"/>
                <a:ea typeface="Calibri" charset="0"/>
                <a:cs typeface="Calibri" charset="0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1400" dirty="0"/>
              <a:t>Media release: Information Commissioner publishes report on investigation into a data breach involving Department of Health and Human Services (11 March 2021)</a:t>
            </a:r>
            <a:endParaRPr lang="en-AU" sz="1400" cap="all" dirty="0"/>
          </a:p>
          <a:p>
            <a:endParaRPr lang="en-AU" sz="1400" dirty="0"/>
          </a:p>
        </p:txBody>
      </p:sp>
    </p:spTree>
    <p:extLst>
      <p:ext uri="{BB962C8B-B14F-4D97-AF65-F5344CB8AC3E}">
        <p14:creationId xmlns:p14="http://schemas.microsoft.com/office/powerpoint/2010/main" val="30617329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82A175-36E6-5CDC-FE60-6F03DC8A1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9497" y="620688"/>
            <a:ext cx="9073008" cy="555215"/>
          </a:xfrm>
        </p:spPr>
        <p:txBody>
          <a:bodyPr/>
          <a:lstStyle/>
          <a:p>
            <a:r>
              <a:rPr lang="en-US" dirty="0"/>
              <a:t>OVIC’s CRISSP investigation</a:t>
            </a:r>
          </a:p>
        </p:txBody>
      </p:sp>
      <p:pic>
        <p:nvPicPr>
          <p:cNvPr id="6" name="Content Placeholder 5" descr="Text&#10;&#10;Description automatically generated">
            <a:extLst>
              <a:ext uri="{FF2B5EF4-FFF2-40B4-BE49-F238E27FC236}">
                <a16:creationId xmlns:a16="http://schemas.microsoft.com/office/drawing/2014/main" id="{EDB94FC4-B9A7-881F-7AE4-9DD2727C7EA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52184" y="1335401"/>
            <a:ext cx="2619815" cy="3689297"/>
          </a:xfrm>
        </p:spPr>
      </p:pic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6E291A78-E17A-748E-E2E2-175D60AF5BE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AU" dirty="0"/>
              <a:t>ISACA AGM 26 May 2022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2AEC93D-DBEA-E20C-1FBF-2A8CEF3F56EA}"/>
              </a:ext>
            </a:extLst>
          </p:cNvPr>
          <p:cNvSpPr txBox="1"/>
          <p:nvPr/>
        </p:nvSpPr>
        <p:spPr>
          <a:xfrm>
            <a:off x="1559497" y="1335401"/>
            <a:ext cx="5760639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chemeClr val="accent4"/>
                </a:solidFill>
              </a:rPr>
              <a:t>A serious breach of the Information Privacy Principle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chemeClr val="accent4"/>
                </a:solidFill>
              </a:rPr>
              <a:t>Compliance notice and report issued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AU" sz="2800">
                <a:solidFill>
                  <a:schemeClr val="accent4"/>
                </a:solidFill>
              </a:rPr>
              <a:t>Incident caused </a:t>
            </a:r>
            <a:r>
              <a:rPr lang="en-AU" sz="2800" dirty="0">
                <a:solidFill>
                  <a:schemeClr val="accent4"/>
                </a:solidFill>
              </a:rPr>
              <a:t>by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chemeClr val="accent4"/>
                </a:solidFill>
              </a:rPr>
              <a:t>human error in failing to deprovision systems acces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AU" sz="2800" dirty="0">
                <a:solidFill>
                  <a:schemeClr val="accent4"/>
                </a:solidFill>
              </a:rPr>
              <a:t>inadequate protections to address the risk of human error</a:t>
            </a:r>
          </a:p>
        </p:txBody>
      </p:sp>
    </p:spTree>
    <p:extLst>
      <p:ext uri="{BB962C8B-B14F-4D97-AF65-F5344CB8AC3E}">
        <p14:creationId xmlns:p14="http://schemas.microsoft.com/office/powerpoint/2010/main" val="317927264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ey71PvAkOE77xbFBiHT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vNYHex2EyTLKrLJ6RKl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2nsl67mkiE2s8kdKwQ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7Q2nDPskqhwqfFmh9S0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.uHgTgRzkq_vX4nLoR7X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ngF9pe3c0Wgm038vzz4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sVTk807UGHCLcJIMsyY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U60OT6mdEKL42.GvrNhe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S68FFfOkikroN7JrM0T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ls.R5_p0Smc0h.p2fcJQ"/>
</p:tagLst>
</file>

<file path=ppt/theme/theme1.xml><?xml version="1.0" encoding="utf-8"?>
<a:theme xmlns:a="http://schemas.openxmlformats.org/drawingml/2006/main" name="1_Office Theme">
  <a:themeElements>
    <a:clrScheme name="OVIC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E5007D"/>
      </a:accent1>
      <a:accent2>
        <a:srgbClr val="430098"/>
      </a:accent2>
      <a:accent3>
        <a:srgbClr val="C1B8AF"/>
      </a:accent3>
      <a:accent4>
        <a:srgbClr val="55565A"/>
      </a:accent4>
      <a:accent5>
        <a:srgbClr val="00567D"/>
      </a:accent5>
      <a:accent6>
        <a:srgbClr val="AC162C"/>
      </a:accent6>
      <a:hlink>
        <a:srgbClr val="006450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VIC template powerpoint</Template>
  <TotalTime>6069</TotalTime>
  <Words>484</Words>
  <Application>Microsoft Macintosh PowerPoint</Application>
  <PresentationFormat>Widescreen</PresentationFormat>
  <Paragraphs>70</Paragraphs>
  <Slides>16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19" baseType="lpstr">
      <vt:lpstr>Arial</vt:lpstr>
      <vt:lpstr>Calibri</vt:lpstr>
      <vt:lpstr>1_Office Theme</vt:lpstr>
      <vt:lpstr>ISACA Annual General Meeting</vt:lpstr>
      <vt:lpstr>What will we cover?</vt:lpstr>
      <vt:lpstr>Office of the Victorian Information Commissioner</vt:lpstr>
      <vt:lpstr>Privacy Awareness Week 2022</vt:lpstr>
      <vt:lpstr>Victorian Protective Data Security Framework and Standards</vt:lpstr>
      <vt:lpstr>Victorian Protective Data Security Framework and Standards</vt:lpstr>
      <vt:lpstr>Outsourcing and the Privacy and Data Protection Act 2014 (Vic): lessons from an OVIC investigation</vt:lpstr>
      <vt:lpstr>PowerPoint Presentation</vt:lpstr>
      <vt:lpstr>OVIC’s CRISSP investigation</vt:lpstr>
      <vt:lpstr>Themes from the investigation’s recommendations</vt:lpstr>
      <vt:lpstr>Artificial intelligence and facial recognition</vt:lpstr>
      <vt:lpstr>Just because you can, does not mean you should.</vt:lpstr>
      <vt:lpstr>Lessons learned from the pandemic</vt:lpstr>
      <vt:lpstr>Lessons learned from the pandemic</vt:lpstr>
      <vt:lpstr>Resources</vt:lpstr>
      <vt:lpstr>Contact us</vt:lpstr>
    </vt:vector>
  </TitlesOfParts>
  <Company>Victorian Governmen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Michelle Cooper</dc:creator>
  <cp:lastModifiedBy>Sarah Crossman</cp:lastModifiedBy>
  <cp:revision>68</cp:revision>
  <cp:lastPrinted>2019-02-04T21:53:43Z</cp:lastPrinted>
  <dcterms:created xsi:type="dcterms:W3CDTF">2019-01-23T00:14:11Z</dcterms:created>
  <dcterms:modified xsi:type="dcterms:W3CDTF">2022-05-24T06:32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usGUID">
    <vt:lpwstr>087998df-e71e-4e18-99ef-31a86b5843e4</vt:lpwstr>
  </property>
  <property fmtid="{D5CDD505-2E9C-101B-9397-08002B2CF9AE}" pid="3" name="PSPFClassification">
    <vt:lpwstr>Do Not Mark</vt:lpwstr>
  </property>
</Properties>
</file>